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s/slide73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63.xml" ContentType="application/vnd.openxmlformats-officedocument.presentationml.tags+xml"/>
  <Override PartName="/ppt/notesSlides/notesSlide73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354" r:id="rId76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openxmlformats.org/officeDocument/2006/relationships/slide" Target="/ppt/slides/slide73.xml" Id="rId76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77.vml.rels>&#65279;<?xml version="1.0" encoding="utf-8"?><Relationships xmlns="http://schemas.openxmlformats.org/package/2006/relationships"><Relationship Type="http://schemas.openxmlformats.org/officeDocument/2006/relationships/image" Target="/ppt/media/image92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73.xml.rels>&#65279;<?xml version="1.0" encoding="utf-8"?><Relationships xmlns="http://schemas.openxmlformats.org/package/2006/relationships"><Relationship Type="http://schemas.openxmlformats.org/officeDocument/2006/relationships/slide" Target="/ppt/slides/slide73.xml" Id="rId2" /><Relationship Type="http://schemas.openxmlformats.org/officeDocument/2006/relationships/notesMaster" Target="/ppt/notesMasters/notesMaster1.xml" Id="rId1" /></Relationship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712981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73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63.xml" Id="rId2" /><Relationship Type="http://schemas.openxmlformats.org/officeDocument/2006/relationships/vmlDrawing" Target="/ppt/drawings/vmlDrawing77.vml" Id="rId1" /><Relationship Type="http://schemas.openxmlformats.org/officeDocument/2006/relationships/image" Target="/ppt/media/image92.emf" Id="rId6" /><Relationship Type="http://schemas.openxmlformats.org/officeDocument/2006/relationships/oleObject" Target="/ppt/embeddings/oleObject77.bin" Id="rId5" /><Relationship Type="http://schemas.openxmlformats.org/officeDocument/2006/relationships/notesSlide" Target="/ppt/notesSlides/notesSlide73.xml" Id="rId4" /></Relationships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83A778C-9253-7021-E379-478F1A4E4F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0302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7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83A778C-9253-7021-E379-478F1A4E4F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/>
          <p:cNvGrpSpPr/>
          <p:nvPr/>
        </p:nvGrpSpPr>
        <p:grpSpPr>
          <a:xfrm>
            <a:off x="2744750" y="1529735"/>
            <a:ext cx="6702500" cy="4528165"/>
            <a:chOff x="13017546" y="3273350"/>
            <a:chExt cx="10283367" cy="6947373"/>
          </a:xfrm>
          <a:solidFill>
            <a:schemeClr val="bg2"/>
          </a:solidFill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7272874" y="3991979"/>
              <a:ext cx="426764" cy="559971"/>
            </a:xfrm>
            <a:custGeom>
              <a:avLst/>
              <a:gdLst>
                <a:gd name="T0" fmla="*/ 72 w 78"/>
                <a:gd name="T1" fmla="*/ 39 h 113"/>
                <a:gd name="T2" fmla="*/ 66 w 78"/>
                <a:gd name="T3" fmla="*/ 44 h 113"/>
                <a:gd name="T4" fmla="*/ 61 w 78"/>
                <a:gd name="T5" fmla="*/ 44 h 113"/>
                <a:gd name="T6" fmla="*/ 65 w 78"/>
                <a:gd name="T7" fmla="*/ 38 h 113"/>
                <a:gd name="T8" fmla="*/ 72 w 78"/>
                <a:gd name="T9" fmla="*/ 14 h 113"/>
                <a:gd name="T10" fmla="*/ 66 w 78"/>
                <a:gd name="T11" fmla="*/ 12 h 113"/>
                <a:gd name="T12" fmla="*/ 65 w 78"/>
                <a:gd name="T13" fmla="*/ 1 h 113"/>
                <a:gd name="T14" fmla="*/ 51 w 78"/>
                <a:gd name="T15" fmla="*/ 4 h 113"/>
                <a:gd name="T16" fmla="*/ 46 w 78"/>
                <a:gd name="T17" fmla="*/ 9 h 113"/>
                <a:gd name="T18" fmla="*/ 40 w 78"/>
                <a:gd name="T19" fmla="*/ 6 h 113"/>
                <a:gd name="T20" fmla="*/ 36 w 78"/>
                <a:gd name="T21" fmla="*/ 7 h 113"/>
                <a:gd name="T22" fmla="*/ 25 w 78"/>
                <a:gd name="T23" fmla="*/ 16 h 113"/>
                <a:gd name="T24" fmla="*/ 24 w 78"/>
                <a:gd name="T25" fmla="*/ 17 h 113"/>
                <a:gd name="T26" fmla="*/ 19 w 78"/>
                <a:gd name="T27" fmla="*/ 26 h 113"/>
                <a:gd name="T28" fmla="*/ 31 w 78"/>
                <a:gd name="T29" fmla="*/ 33 h 113"/>
                <a:gd name="T30" fmla="*/ 30 w 78"/>
                <a:gd name="T31" fmla="*/ 35 h 113"/>
                <a:gd name="T32" fmla="*/ 30 w 78"/>
                <a:gd name="T33" fmla="*/ 49 h 113"/>
                <a:gd name="T34" fmla="*/ 27 w 78"/>
                <a:gd name="T35" fmla="*/ 51 h 113"/>
                <a:gd name="T36" fmla="*/ 20 w 78"/>
                <a:gd name="T37" fmla="*/ 44 h 113"/>
                <a:gd name="T38" fmla="*/ 11 w 78"/>
                <a:gd name="T39" fmla="*/ 33 h 113"/>
                <a:gd name="T40" fmla="*/ 0 w 78"/>
                <a:gd name="T41" fmla="*/ 47 h 113"/>
                <a:gd name="T42" fmla="*/ 6 w 78"/>
                <a:gd name="T43" fmla="*/ 63 h 113"/>
                <a:gd name="T44" fmla="*/ 15 w 78"/>
                <a:gd name="T45" fmla="*/ 71 h 113"/>
                <a:gd name="T46" fmla="*/ 22 w 78"/>
                <a:gd name="T47" fmla="*/ 82 h 113"/>
                <a:gd name="T48" fmla="*/ 33 w 78"/>
                <a:gd name="T49" fmla="*/ 107 h 113"/>
                <a:gd name="T50" fmla="*/ 48 w 78"/>
                <a:gd name="T51" fmla="*/ 111 h 113"/>
                <a:gd name="T52" fmla="*/ 56 w 78"/>
                <a:gd name="T53" fmla="*/ 103 h 113"/>
                <a:gd name="T54" fmla="*/ 70 w 78"/>
                <a:gd name="T55" fmla="*/ 89 h 113"/>
                <a:gd name="T56" fmla="*/ 72 w 78"/>
                <a:gd name="T57" fmla="*/ 79 h 113"/>
                <a:gd name="T58" fmla="*/ 71 w 78"/>
                <a:gd name="T59" fmla="*/ 58 h 113"/>
                <a:gd name="T60" fmla="*/ 69 w 78"/>
                <a:gd name="T61" fmla="*/ 54 h 113"/>
                <a:gd name="T62" fmla="*/ 77 w 78"/>
                <a:gd name="T63" fmla="*/ 5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8" h="113">
                  <a:moveTo>
                    <a:pt x="77" y="42"/>
                  </a:moveTo>
                  <a:cubicBezTo>
                    <a:pt x="76" y="40"/>
                    <a:pt x="74" y="39"/>
                    <a:pt x="72" y="39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69" y="39"/>
                    <a:pt x="67" y="41"/>
                    <a:pt x="66" y="44"/>
                  </a:cubicBezTo>
                  <a:cubicBezTo>
                    <a:pt x="65" y="44"/>
                    <a:pt x="65" y="45"/>
                    <a:pt x="65" y="45"/>
                  </a:cubicBezTo>
                  <a:cubicBezTo>
                    <a:pt x="64" y="44"/>
                    <a:pt x="62" y="44"/>
                    <a:pt x="61" y="44"/>
                  </a:cubicBezTo>
                  <a:cubicBezTo>
                    <a:pt x="60" y="44"/>
                    <a:pt x="59" y="44"/>
                    <a:pt x="59" y="43"/>
                  </a:cubicBezTo>
                  <a:cubicBezTo>
                    <a:pt x="60" y="42"/>
                    <a:pt x="63" y="39"/>
                    <a:pt x="65" y="38"/>
                  </a:cubicBezTo>
                  <a:cubicBezTo>
                    <a:pt x="69" y="36"/>
                    <a:pt x="71" y="34"/>
                    <a:pt x="72" y="33"/>
                  </a:cubicBezTo>
                  <a:cubicBezTo>
                    <a:pt x="74" y="28"/>
                    <a:pt x="78" y="18"/>
                    <a:pt x="72" y="14"/>
                  </a:cubicBezTo>
                  <a:cubicBezTo>
                    <a:pt x="71" y="13"/>
                    <a:pt x="69" y="13"/>
                    <a:pt x="68" y="12"/>
                  </a:cubicBezTo>
                  <a:cubicBezTo>
                    <a:pt x="67" y="12"/>
                    <a:pt x="67" y="12"/>
                    <a:pt x="66" y="12"/>
                  </a:cubicBezTo>
                  <a:cubicBezTo>
                    <a:pt x="66" y="11"/>
                    <a:pt x="67" y="10"/>
                    <a:pt x="67" y="9"/>
                  </a:cubicBezTo>
                  <a:cubicBezTo>
                    <a:pt x="68" y="8"/>
                    <a:pt x="69" y="4"/>
                    <a:pt x="65" y="1"/>
                  </a:cubicBezTo>
                  <a:cubicBezTo>
                    <a:pt x="65" y="0"/>
                    <a:pt x="63" y="0"/>
                    <a:pt x="62" y="0"/>
                  </a:cubicBezTo>
                  <a:cubicBezTo>
                    <a:pt x="58" y="0"/>
                    <a:pt x="53" y="3"/>
                    <a:pt x="51" y="4"/>
                  </a:cubicBezTo>
                  <a:cubicBezTo>
                    <a:pt x="51" y="5"/>
                    <a:pt x="50" y="6"/>
                    <a:pt x="49" y="6"/>
                  </a:cubicBezTo>
                  <a:cubicBezTo>
                    <a:pt x="48" y="7"/>
                    <a:pt x="47" y="9"/>
                    <a:pt x="46" y="9"/>
                  </a:cubicBezTo>
                  <a:cubicBezTo>
                    <a:pt x="45" y="9"/>
                    <a:pt x="45" y="8"/>
                    <a:pt x="44" y="8"/>
                  </a:cubicBezTo>
                  <a:cubicBezTo>
                    <a:pt x="43" y="7"/>
                    <a:pt x="42" y="6"/>
                    <a:pt x="40" y="6"/>
                  </a:cubicBezTo>
                  <a:cubicBezTo>
                    <a:pt x="39" y="6"/>
                    <a:pt x="39" y="7"/>
                    <a:pt x="38" y="7"/>
                  </a:cubicBezTo>
                  <a:cubicBezTo>
                    <a:pt x="37" y="7"/>
                    <a:pt x="36" y="7"/>
                    <a:pt x="36" y="7"/>
                  </a:cubicBezTo>
                  <a:cubicBezTo>
                    <a:pt x="29" y="9"/>
                    <a:pt x="27" y="9"/>
                    <a:pt x="26" y="11"/>
                  </a:cubicBezTo>
                  <a:cubicBezTo>
                    <a:pt x="24" y="13"/>
                    <a:pt x="25" y="15"/>
                    <a:pt x="25" y="16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5" y="16"/>
                    <a:pt x="25" y="16"/>
                    <a:pt x="24" y="17"/>
                  </a:cubicBezTo>
                  <a:cubicBezTo>
                    <a:pt x="23" y="17"/>
                    <a:pt x="22" y="18"/>
                    <a:pt x="21" y="19"/>
                  </a:cubicBezTo>
                  <a:cubicBezTo>
                    <a:pt x="20" y="20"/>
                    <a:pt x="17" y="23"/>
                    <a:pt x="19" y="26"/>
                  </a:cubicBezTo>
                  <a:cubicBezTo>
                    <a:pt x="20" y="30"/>
                    <a:pt x="24" y="31"/>
                    <a:pt x="28" y="32"/>
                  </a:cubicBezTo>
                  <a:cubicBezTo>
                    <a:pt x="29" y="32"/>
                    <a:pt x="30" y="32"/>
                    <a:pt x="31" y="33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31" y="33"/>
                    <a:pt x="30" y="34"/>
                    <a:pt x="30" y="35"/>
                  </a:cubicBezTo>
                  <a:cubicBezTo>
                    <a:pt x="29" y="37"/>
                    <a:pt x="27" y="40"/>
                    <a:pt x="29" y="43"/>
                  </a:cubicBezTo>
                  <a:cubicBezTo>
                    <a:pt x="30" y="45"/>
                    <a:pt x="30" y="47"/>
                    <a:pt x="30" y="49"/>
                  </a:cubicBezTo>
                  <a:cubicBezTo>
                    <a:pt x="30" y="49"/>
                    <a:pt x="30" y="50"/>
                    <a:pt x="29" y="50"/>
                  </a:cubicBezTo>
                  <a:cubicBezTo>
                    <a:pt x="28" y="51"/>
                    <a:pt x="28" y="51"/>
                    <a:pt x="27" y="51"/>
                  </a:cubicBezTo>
                  <a:cubicBezTo>
                    <a:pt x="25" y="51"/>
                    <a:pt x="22" y="49"/>
                    <a:pt x="21" y="47"/>
                  </a:cubicBezTo>
                  <a:cubicBezTo>
                    <a:pt x="21" y="46"/>
                    <a:pt x="20" y="45"/>
                    <a:pt x="20" y="44"/>
                  </a:cubicBezTo>
                  <a:cubicBezTo>
                    <a:pt x="19" y="40"/>
                    <a:pt x="17" y="35"/>
                    <a:pt x="13" y="33"/>
                  </a:cubicBezTo>
                  <a:cubicBezTo>
                    <a:pt x="12" y="33"/>
                    <a:pt x="11" y="33"/>
                    <a:pt x="11" y="33"/>
                  </a:cubicBezTo>
                  <a:cubicBezTo>
                    <a:pt x="9" y="33"/>
                    <a:pt x="7" y="34"/>
                    <a:pt x="5" y="36"/>
                  </a:cubicBezTo>
                  <a:cubicBezTo>
                    <a:pt x="2" y="39"/>
                    <a:pt x="0" y="44"/>
                    <a:pt x="0" y="47"/>
                  </a:cubicBezTo>
                  <a:cubicBezTo>
                    <a:pt x="1" y="51"/>
                    <a:pt x="2" y="54"/>
                    <a:pt x="4" y="57"/>
                  </a:cubicBezTo>
                  <a:cubicBezTo>
                    <a:pt x="5" y="59"/>
                    <a:pt x="6" y="61"/>
                    <a:pt x="6" y="63"/>
                  </a:cubicBezTo>
                  <a:cubicBezTo>
                    <a:pt x="8" y="67"/>
                    <a:pt x="10" y="69"/>
                    <a:pt x="12" y="70"/>
                  </a:cubicBezTo>
                  <a:cubicBezTo>
                    <a:pt x="13" y="70"/>
                    <a:pt x="14" y="71"/>
                    <a:pt x="15" y="71"/>
                  </a:cubicBezTo>
                  <a:cubicBezTo>
                    <a:pt x="16" y="73"/>
                    <a:pt x="17" y="75"/>
                    <a:pt x="19" y="77"/>
                  </a:cubicBezTo>
                  <a:cubicBezTo>
                    <a:pt x="20" y="79"/>
                    <a:pt x="21" y="80"/>
                    <a:pt x="22" y="82"/>
                  </a:cubicBezTo>
                  <a:cubicBezTo>
                    <a:pt x="25" y="86"/>
                    <a:pt x="26" y="90"/>
                    <a:pt x="28" y="94"/>
                  </a:cubicBezTo>
                  <a:cubicBezTo>
                    <a:pt x="29" y="99"/>
                    <a:pt x="30" y="103"/>
                    <a:pt x="33" y="107"/>
                  </a:cubicBezTo>
                  <a:cubicBezTo>
                    <a:pt x="35" y="109"/>
                    <a:pt x="38" y="113"/>
                    <a:pt x="42" y="113"/>
                  </a:cubicBezTo>
                  <a:cubicBezTo>
                    <a:pt x="45" y="113"/>
                    <a:pt x="47" y="112"/>
                    <a:pt x="48" y="111"/>
                  </a:cubicBezTo>
                  <a:cubicBezTo>
                    <a:pt x="51" y="108"/>
                    <a:pt x="51" y="105"/>
                    <a:pt x="51" y="102"/>
                  </a:cubicBezTo>
                  <a:cubicBezTo>
                    <a:pt x="53" y="102"/>
                    <a:pt x="54" y="103"/>
                    <a:pt x="56" y="103"/>
                  </a:cubicBezTo>
                  <a:cubicBezTo>
                    <a:pt x="59" y="103"/>
                    <a:pt x="61" y="102"/>
                    <a:pt x="63" y="101"/>
                  </a:cubicBezTo>
                  <a:cubicBezTo>
                    <a:pt x="68" y="97"/>
                    <a:pt x="69" y="93"/>
                    <a:pt x="70" y="89"/>
                  </a:cubicBezTo>
                  <a:cubicBezTo>
                    <a:pt x="70" y="87"/>
                    <a:pt x="70" y="86"/>
                    <a:pt x="70" y="85"/>
                  </a:cubicBezTo>
                  <a:cubicBezTo>
                    <a:pt x="71" y="83"/>
                    <a:pt x="72" y="81"/>
                    <a:pt x="72" y="79"/>
                  </a:cubicBezTo>
                  <a:cubicBezTo>
                    <a:pt x="74" y="76"/>
                    <a:pt x="75" y="73"/>
                    <a:pt x="75" y="69"/>
                  </a:cubicBezTo>
                  <a:cubicBezTo>
                    <a:pt x="76" y="64"/>
                    <a:pt x="74" y="61"/>
                    <a:pt x="71" y="58"/>
                  </a:cubicBezTo>
                  <a:cubicBezTo>
                    <a:pt x="71" y="58"/>
                    <a:pt x="70" y="57"/>
                    <a:pt x="69" y="56"/>
                  </a:cubicBezTo>
                  <a:cubicBezTo>
                    <a:pt x="69" y="55"/>
                    <a:pt x="69" y="55"/>
                    <a:pt x="69" y="54"/>
                  </a:cubicBezTo>
                  <a:cubicBezTo>
                    <a:pt x="69" y="54"/>
                    <a:pt x="70" y="54"/>
                    <a:pt x="70" y="54"/>
                  </a:cubicBezTo>
                  <a:cubicBezTo>
                    <a:pt x="73" y="54"/>
                    <a:pt x="76" y="52"/>
                    <a:pt x="77" y="50"/>
                  </a:cubicBezTo>
                  <a:cubicBezTo>
                    <a:pt x="78" y="48"/>
                    <a:pt x="78" y="45"/>
                    <a:pt x="77" y="42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7344685" y="4809537"/>
              <a:ext cx="342642" cy="304251"/>
            </a:xfrm>
            <a:custGeom>
              <a:avLst/>
              <a:gdLst>
                <a:gd name="T0" fmla="*/ 63 w 63"/>
                <a:gd name="T1" fmla="*/ 46 h 61"/>
                <a:gd name="T2" fmla="*/ 58 w 63"/>
                <a:gd name="T3" fmla="*/ 40 h 61"/>
                <a:gd name="T4" fmla="*/ 55 w 63"/>
                <a:gd name="T5" fmla="*/ 37 h 61"/>
                <a:gd name="T6" fmla="*/ 53 w 63"/>
                <a:gd name="T7" fmla="*/ 30 h 61"/>
                <a:gd name="T8" fmla="*/ 50 w 63"/>
                <a:gd name="T9" fmla="*/ 19 h 61"/>
                <a:gd name="T10" fmla="*/ 44 w 63"/>
                <a:gd name="T11" fmla="*/ 13 h 61"/>
                <a:gd name="T12" fmla="*/ 37 w 63"/>
                <a:gd name="T13" fmla="*/ 6 h 61"/>
                <a:gd name="T14" fmla="*/ 29 w 63"/>
                <a:gd name="T15" fmla="*/ 0 h 61"/>
                <a:gd name="T16" fmla="*/ 20 w 63"/>
                <a:gd name="T17" fmla="*/ 6 h 61"/>
                <a:gd name="T18" fmla="*/ 17 w 63"/>
                <a:gd name="T19" fmla="*/ 16 h 61"/>
                <a:gd name="T20" fmla="*/ 14 w 63"/>
                <a:gd name="T21" fmla="*/ 24 h 61"/>
                <a:gd name="T22" fmla="*/ 10 w 63"/>
                <a:gd name="T23" fmla="*/ 25 h 61"/>
                <a:gd name="T24" fmla="*/ 1 w 63"/>
                <a:gd name="T25" fmla="*/ 31 h 61"/>
                <a:gd name="T26" fmla="*/ 1 w 63"/>
                <a:gd name="T27" fmla="*/ 37 h 61"/>
                <a:gd name="T28" fmla="*/ 12 w 63"/>
                <a:gd name="T29" fmla="*/ 42 h 61"/>
                <a:gd name="T30" fmla="*/ 15 w 63"/>
                <a:gd name="T31" fmla="*/ 43 h 61"/>
                <a:gd name="T32" fmla="*/ 21 w 63"/>
                <a:gd name="T33" fmla="*/ 48 h 61"/>
                <a:gd name="T34" fmla="*/ 26 w 63"/>
                <a:gd name="T35" fmla="*/ 54 h 61"/>
                <a:gd name="T36" fmla="*/ 43 w 63"/>
                <a:gd name="T37" fmla="*/ 61 h 61"/>
                <a:gd name="T38" fmla="*/ 43 w 63"/>
                <a:gd name="T39" fmla="*/ 61 h 61"/>
                <a:gd name="T40" fmla="*/ 61 w 63"/>
                <a:gd name="T41" fmla="*/ 51 h 61"/>
                <a:gd name="T42" fmla="*/ 63 w 63"/>
                <a:gd name="T43" fmla="*/ 46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3" h="61">
                  <a:moveTo>
                    <a:pt x="63" y="46"/>
                  </a:moveTo>
                  <a:cubicBezTo>
                    <a:pt x="63" y="43"/>
                    <a:pt x="60" y="41"/>
                    <a:pt x="58" y="40"/>
                  </a:cubicBezTo>
                  <a:cubicBezTo>
                    <a:pt x="57" y="39"/>
                    <a:pt x="56" y="38"/>
                    <a:pt x="55" y="37"/>
                  </a:cubicBezTo>
                  <a:cubicBezTo>
                    <a:pt x="54" y="35"/>
                    <a:pt x="53" y="33"/>
                    <a:pt x="53" y="30"/>
                  </a:cubicBezTo>
                  <a:cubicBezTo>
                    <a:pt x="53" y="26"/>
                    <a:pt x="53" y="22"/>
                    <a:pt x="50" y="19"/>
                  </a:cubicBezTo>
                  <a:cubicBezTo>
                    <a:pt x="48" y="16"/>
                    <a:pt x="46" y="14"/>
                    <a:pt x="44" y="13"/>
                  </a:cubicBezTo>
                  <a:cubicBezTo>
                    <a:pt x="41" y="11"/>
                    <a:pt x="39" y="9"/>
                    <a:pt x="37" y="6"/>
                  </a:cubicBezTo>
                  <a:cubicBezTo>
                    <a:pt x="35" y="2"/>
                    <a:pt x="32" y="0"/>
                    <a:pt x="29" y="0"/>
                  </a:cubicBezTo>
                  <a:cubicBezTo>
                    <a:pt x="26" y="0"/>
                    <a:pt x="23" y="2"/>
                    <a:pt x="20" y="6"/>
                  </a:cubicBezTo>
                  <a:cubicBezTo>
                    <a:pt x="18" y="9"/>
                    <a:pt x="18" y="13"/>
                    <a:pt x="17" y="16"/>
                  </a:cubicBezTo>
                  <a:cubicBezTo>
                    <a:pt x="17" y="19"/>
                    <a:pt x="16" y="23"/>
                    <a:pt x="14" y="24"/>
                  </a:cubicBezTo>
                  <a:cubicBezTo>
                    <a:pt x="13" y="25"/>
                    <a:pt x="12" y="25"/>
                    <a:pt x="10" y="25"/>
                  </a:cubicBezTo>
                  <a:cubicBezTo>
                    <a:pt x="7" y="26"/>
                    <a:pt x="3" y="27"/>
                    <a:pt x="1" y="31"/>
                  </a:cubicBezTo>
                  <a:cubicBezTo>
                    <a:pt x="0" y="34"/>
                    <a:pt x="1" y="36"/>
                    <a:pt x="1" y="37"/>
                  </a:cubicBezTo>
                  <a:cubicBezTo>
                    <a:pt x="3" y="41"/>
                    <a:pt x="8" y="41"/>
                    <a:pt x="12" y="42"/>
                  </a:cubicBezTo>
                  <a:cubicBezTo>
                    <a:pt x="13" y="42"/>
                    <a:pt x="14" y="42"/>
                    <a:pt x="15" y="43"/>
                  </a:cubicBezTo>
                  <a:cubicBezTo>
                    <a:pt x="18" y="43"/>
                    <a:pt x="19" y="46"/>
                    <a:pt x="21" y="48"/>
                  </a:cubicBezTo>
                  <a:cubicBezTo>
                    <a:pt x="22" y="50"/>
                    <a:pt x="24" y="52"/>
                    <a:pt x="26" y="54"/>
                  </a:cubicBezTo>
                  <a:cubicBezTo>
                    <a:pt x="27" y="54"/>
                    <a:pt x="37" y="61"/>
                    <a:pt x="4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8" y="61"/>
                    <a:pt x="59" y="53"/>
                    <a:pt x="61" y="51"/>
                  </a:cubicBezTo>
                  <a:cubicBezTo>
                    <a:pt x="63" y="49"/>
                    <a:pt x="63" y="47"/>
                    <a:pt x="63" y="46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16162878" y="3907984"/>
              <a:ext cx="681181" cy="713030"/>
            </a:xfrm>
            <a:custGeom>
              <a:avLst/>
              <a:gdLst>
                <a:gd name="T0" fmla="*/ 110 w 125"/>
                <a:gd name="T1" fmla="*/ 51 h 144"/>
                <a:gd name="T2" fmla="*/ 108 w 125"/>
                <a:gd name="T3" fmla="*/ 50 h 144"/>
                <a:gd name="T4" fmla="*/ 111 w 125"/>
                <a:gd name="T5" fmla="*/ 35 h 144"/>
                <a:gd name="T6" fmla="*/ 96 w 125"/>
                <a:gd name="T7" fmla="*/ 19 h 144"/>
                <a:gd name="T8" fmla="*/ 85 w 125"/>
                <a:gd name="T9" fmla="*/ 26 h 144"/>
                <a:gd name="T10" fmla="*/ 80 w 125"/>
                <a:gd name="T11" fmla="*/ 30 h 144"/>
                <a:gd name="T12" fmla="*/ 81 w 125"/>
                <a:gd name="T13" fmla="*/ 27 h 144"/>
                <a:gd name="T14" fmla="*/ 89 w 125"/>
                <a:gd name="T15" fmla="*/ 18 h 144"/>
                <a:gd name="T16" fmla="*/ 92 w 125"/>
                <a:gd name="T17" fmla="*/ 4 h 144"/>
                <a:gd name="T18" fmla="*/ 85 w 125"/>
                <a:gd name="T19" fmla="*/ 0 h 144"/>
                <a:gd name="T20" fmla="*/ 75 w 125"/>
                <a:gd name="T21" fmla="*/ 1 h 144"/>
                <a:gd name="T22" fmla="*/ 61 w 125"/>
                <a:gd name="T23" fmla="*/ 2 h 144"/>
                <a:gd name="T24" fmla="*/ 54 w 125"/>
                <a:gd name="T25" fmla="*/ 3 h 144"/>
                <a:gd name="T26" fmla="*/ 36 w 125"/>
                <a:gd name="T27" fmla="*/ 9 h 144"/>
                <a:gd name="T28" fmla="*/ 26 w 125"/>
                <a:gd name="T29" fmla="*/ 18 h 144"/>
                <a:gd name="T30" fmla="*/ 27 w 125"/>
                <a:gd name="T31" fmla="*/ 23 h 144"/>
                <a:gd name="T32" fmla="*/ 14 w 125"/>
                <a:gd name="T33" fmla="*/ 29 h 144"/>
                <a:gd name="T34" fmla="*/ 8 w 125"/>
                <a:gd name="T35" fmla="*/ 38 h 144"/>
                <a:gd name="T36" fmla="*/ 19 w 125"/>
                <a:gd name="T37" fmla="*/ 47 h 144"/>
                <a:gd name="T38" fmla="*/ 21 w 125"/>
                <a:gd name="T39" fmla="*/ 48 h 144"/>
                <a:gd name="T40" fmla="*/ 12 w 125"/>
                <a:gd name="T41" fmla="*/ 52 h 144"/>
                <a:gd name="T42" fmla="*/ 17 w 125"/>
                <a:gd name="T43" fmla="*/ 61 h 144"/>
                <a:gd name="T44" fmla="*/ 24 w 125"/>
                <a:gd name="T45" fmla="*/ 61 h 144"/>
                <a:gd name="T46" fmla="*/ 28 w 125"/>
                <a:gd name="T47" fmla="*/ 61 h 144"/>
                <a:gd name="T48" fmla="*/ 37 w 125"/>
                <a:gd name="T49" fmla="*/ 63 h 144"/>
                <a:gd name="T50" fmla="*/ 39 w 125"/>
                <a:gd name="T51" fmla="*/ 63 h 144"/>
                <a:gd name="T52" fmla="*/ 43 w 125"/>
                <a:gd name="T53" fmla="*/ 63 h 144"/>
                <a:gd name="T54" fmla="*/ 34 w 125"/>
                <a:gd name="T55" fmla="*/ 64 h 144"/>
                <a:gd name="T56" fmla="*/ 17 w 125"/>
                <a:gd name="T57" fmla="*/ 63 h 144"/>
                <a:gd name="T58" fmla="*/ 3 w 125"/>
                <a:gd name="T59" fmla="*/ 72 h 144"/>
                <a:gd name="T60" fmla="*/ 18 w 125"/>
                <a:gd name="T61" fmla="*/ 93 h 144"/>
                <a:gd name="T62" fmla="*/ 38 w 125"/>
                <a:gd name="T63" fmla="*/ 102 h 144"/>
                <a:gd name="T64" fmla="*/ 50 w 125"/>
                <a:gd name="T65" fmla="*/ 105 h 144"/>
                <a:gd name="T66" fmla="*/ 60 w 125"/>
                <a:gd name="T67" fmla="*/ 110 h 144"/>
                <a:gd name="T68" fmla="*/ 66 w 125"/>
                <a:gd name="T69" fmla="*/ 115 h 144"/>
                <a:gd name="T70" fmla="*/ 67 w 125"/>
                <a:gd name="T71" fmla="*/ 123 h 144"/>
                <a:gd name="T72" fmla="*/ 54 w 125"/>
                <a:gd name="T73" fmla="*/ 116 h 144"/>
                <a:gd name="T74" fmla="*/ 19 w 125"/>
                <a:gd name="T75" fmla="*/ 105 h 144"/>
                <a:gd name="T76" fmla="*/ 14 w 125"/>
                <a:gd name="T77" fmla="*/ 104 h 144"/>
                <a:gd name="T78" fmla="*/ 0 w 125"/>
                <a:gd name="T79" fmla="*/ 107 h 144"/>
                <a:gd name="T80" fmla="*/ 125 w 125"/>
                <a:gd name="T81" fmla="*/ 4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5" h="144">
                  <a:moveTo>
                    <a:pt x="117" y="48"/>
                  </a:moveTo>
                  <a:cubicBezTo>
                    <a:pt x="115" y="50"/>
                    <a:pt x="112" y="51"/>
                    <a:pt x="110" y="51"/>
                  </a:cubicBezTo>
                  <a:cubicBezTo>
                    <a:pt x="109" y="51"/>
                    <a:pt x="109" y="51"/>
                    <a:pt x="108" y="51"/>
                  </a:cubicBezTo>
                  <a:cubicBezTo>
                    <a:pt x="108" y="50"/>
                    <a:pt x="108" y="50"/>
                    <a:pt x="108" y="50"/>
                  </a:cubicBezTo>
                  <a:cubicBezTo>
                    <a:pt x="108" y="50"/>
                    <a:pt x="109" y="48"/>
                    <a:pt x="109" y="47"/>
                  </a:cubicBezTo>
                  <a:cubicBezTo>
                    <a:pt x="111" y="44"/>
                    <a:pt x="114" y="40"/>
                    <a:pt x="111" y="35"/>
                  </a:cubicBezTo>
                  <a:cubicBezTo>
                    <a:pt x="110" y="34"/>
                    <a:pt x="110" y="33"/>
                    <a:pt x="109" y="31"/>
                  </a:cubicBezTo>
                  <a:cubicBezTo>
                    <a:pt x="106" y="26"/>
                    <a:pt x="103" y="19"/>
                    <a:pt x="96" y="19"/>
                  </a:cubicBezTo>
                  <a:cubicBezTo>
                    <a:pt x="95" y="19"/>
                    <a:pt x="95" y="19"/>
                    <a:pt x="95" y="19"/>
                  </a:cubicBezTo>
                  <a:cubicBezTo>
                    <a:pt x="90" y="20"/>
                    <a:pt x="87" y="23"/>
                    <a:pt x="85" y="26"/>
                  </a:cubicBezTo>
                  <a:cubicBezTo>
                    <a:pt x="83" y="30"/>
                    <a:pt x="83" y="30"/>
                    <a:pt x="80" y="30"/>
                  </a:cubicBezTo>
                  <a:cubicBezTo>
                    <a:pt x="80" y="30"/>
                    <a:pt x="80" y="30"/>
                    <a:pt x="80" y="30"/>
                  </a:cubicBezTo>
                  <a:cubicBezTo>
                    <a:pt x="79" y="30"/>
                    <a:pt x="79" y="30"/>
                    <a:pt x="78" y="30"/>
                  </a:cubicBezTo>
                  <a:cubicBezTo>
                    <a:pt x="79" y="29"/>
                    <a:pt x="80" y="28"/>
                    <a:pt x="81" y="27"/>
                  </a:cubicBezTo>
                  <a:cubicBezTo>
                    <a:pt x="82" y="27"/>
                    <a:pt x="82" y="27"/>
                    <a:pt x="83" y="26"/>
                  </a:cubicBezTo>
                  <a:cubicBezTo>
                    <a:pt x="86" y="24"/>
                    <a:pt x="88" y="21"/>
                    <a:pt x="89" y="18"/>
                  </a:cubicBezTo>
                  <a:cubicBezTo>
                    <a:pt x="90" y="17"/>
                    <a:pt x="91" y="16"/>
                    <a:pt x="92" y="14"/>
                  </a:cubicBezTo>
                  <a:cubicBezTo>
                    <a:pt x="94" y="12"/>
                    <a:pt x="94" y="8"/>
                    <a:pt x="92" y="4"/>
                  </a:cubicBezTo>
                  <a:cubicBezTo>
                    <a:pt x="91" y="2"/>
                    <a:pt x="89" y="0"/>
                    <a:pt x="87" y="0"/>
                  </a:cubicBezTo>
                  <a:cubicBezTo>
                    <a:pt x="86" y="0"/>
                    <a:pt x="85" y="0"/>
                    <a:pt x="85" y="0"/>
                  </a:cubicBezTo>
                  <a:cubicBezTo>
                    <a:pt x="83" y="0"/>
                    <a:pt x="81" y="0"/>
                    <a:pt x="79" y="0"/>
                  </a:cubicBezTo>
                  <a:cubicBezTo>
                    <a:pt x="77" y="1"/>
                    <a:pt x="76" y="1"/>
                    <a:pt x="75" y="1"/>
                  </a:cubicBezTo>
                  <a:cubicBezTo>
                    <a:pt x="71" y="1"/>
                    <a:pt x="67" y="2"/>
                    <a:pt x="63" y="2"/>
                  </a:cubicBezTo>
                  <a:cubicBezTo>
                    <a:pt x="61" y="2"/>
                    <a:pt x="61" y="2"/>
                    <a:pt x="61" y="2"/>
                  </a:cubicBezTo>
                  <a:cubicBezTo>
                    <a:pt x="60" y="2"/>
                    <a:pt x="60" y="2"/>
                    <a:pt x="59" y="2"/>
                  </a:cubicBezTo>
                  <a:cubicBezTo>
                    <a:pt x="57" y="3"/>
                    <a:pt x="56" y="3"/>
                    <a:pt x="54" y="3"/>
                  </a:cubicBezTo>
                  <a:cubicBezTo>
                    <a:pt x="49" y="4"/>
                    <a:pt x="44" y="6"/>
                    <a:pt x="40" y="8"/>
                  </a:cubicBezTo>
                  <a:cubicBezTo>
                    <a:pt x="39" y="8"/>
                    <a:pt x="37" y="9"/>
                    <a:pt x="36" y="9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2" y="11"/>
                    <a:pt x="26" y="13"/>
                    <a:pt x="26" y="18"/>
                  </a:cubicBezTo>
                  <a:cubicBezTo>
                    <a:pt x="26" y="20"/>
                    <a:pt x="26" y="21"/>
                    <a:pt x="27" y="22"/>
                  </a:cubicBezTo>
                  <a:cubicBezTo>
                    <a:pt x="27" y="22"/>
                    <a:pt x="27" y="22"/>
                    <a:pt x="27" y="23"/>
                  </a:cubicBezTo>
                  <a:cubicBezTo>
                    <a:pt x="26" y="24"/>
                    <a:pt x="26" y="24"/>
                    <a:pt x="24" y="24"/>
                  </a:cubicBezTo>
                  <a:cubicBezTo>
                    <a:pt x="19" y="25"/>
                    <a:pt x="17" y="27"/>
                    <a:pt x="14" y="29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1" y="31"/>
                    <a:pt x="9" y="34"/>
                    <a:pt x="8" y="38"/>
                  </a:cubicBezTo>
                  <a:cubicBezTo>
                    <a:pt x="7" y="45"/>
                    <a:pt x="14" y="46"/>
                    <a:pt x="17" y="47"/>
                  </a:cubicBezTo>
                  <a:cubicBezTo>
                    <a:pt x="18" y="47"/>
                    <a:pt x="18" y="47"/>
                    <a:pt x="19" y="47"/>
                  </a:cubicBezTo>
                  <a:cubicBezTo>
                    <a:pt x="20" y="47"/>
                    <a:pt x="21" y="48"/>
                    <a:pt x="21" y="48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0" y="48"/>
                    <a:pt x="19" y="48"/>
                    <a:pt x="18" y="48"/>
                  </a:cubicBezTo>
                  <a:cubicBezTo>
                    <a:pt x="17" y="48"/>
                    <a:pt x="13" y="48"/>
                    <a:pt x="12" y="52"/>
                  </a:cubicBezTo>
                  <a:cubicBezTo>
                    <a:pt x="11" y="53"/>
                    <a:pt x="11" y="55"/>
                    <a:pt x="12" y="57"/>
                  </a:cubicBezTo>
                  <a:cubicBezTo>
                    <a:pt x="13" y="59"/>
                    <a:pt x="15" y="61"/>
                    <a:pt x="17" y="61"/>
                  </a:cubicBezTo>
                  <a:cubicBezTo>
                    <a:pt x="18" y="61"/>
                    <a:pt x="19" y="62"/>
                    <a:pt x="21" y="62"/>
                  </a:cubicBezTo>
                  <a:cubicBezTo>
                    <a:pt x="22" y="62"/>
                    <a:pt x="23" y="61"/>
                    <a:pt x="24" y="61"/>
                  </a:cubicBezTo>
                  <a:cubicBezTo>
                    <a:pt x="26" y="61"/>
                    <a:pt x="27" y="61"/>
                    <a:pt x="28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29" y="61"/>
                    <a:pt x="30" y="61"/>
                    <a:pt x="31" y="62"/>
                  </a:cubicBezTo>
                  <a:cubicBezTo>
                    <a:pt x="33" y="62"/>
                    <a:pt x="35" y="63"/>
                    <a:pt x="37" y="63"/>
                  </a:cubicBezTo>
                  <a:cubicBezTo>
                    <a:pt x="37" y="63"/>
                    <a:pt x="37" y="63"/>
                    <a:pt x="37" y="63"/>
                  </a:cubicBezTo>
                  <a:cubicBezTo>
                    <a:pt x="38" y="63"/>
                    <a:pt x="38" y="63"/>
                    <a:pt x="39" y="63"/>
                  </a:cubicBezTo>
                  <a:cubicBezTo>
                    <a:pt x="40" y="63"/>
                    <a:pt x="40" y="63"/>
                    <a:pt x="41" y="63"/>
                  </a:cubicBezTo>
                  <a:cubicBezTo>
                    <a:pt x="42" y="63"/>
                    <a:pt x="42" y="63"/>
                    <a:pt x="43" y="63"/>
                  </a:cubicBezTo>
                  <a:cubicBezTo>
                    <a:pt x="41" y="63"/>
                    <a:pt x="38" y="64"/>
                    <a:pt x="35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2" y="64"/>
                    <a:pt x="29" y="64"/>
                    <a:pt x="26" y="63"/>
                  </a:cubicBezTo>
                  <a:cubicBezTo>
                    <a:pt x="23" y="63"/>
                    <a:pt x="20" y="63"/>
                    <a:pt x="17" y="63"/>
                  </a:cubicBezTo>
                  <a:cubicBezTo>
                    <a:pt x="15" y="63"/>
                    <a:pt x="13" y="63"/>
                    <a:pt x="11" y="63"/>
                  </a:cubicBezTo>
                  <a:cubicBezTo>
                    <a:pt x="7" y="64"/>
                    <a:pt x="4" y="68"/>
                    <a:pt x="3" y="72"/>
                  </a:cubicBezTo>
                  <a:cubicBezTo>
                    <a:pt x="1" y="77"/>
                    <a:pt x="4" y="81"/>
                    <a:pt x="6" y="84"/>
                  </a:cubicBezTo>
                  <a:cubicBezTo>
                    <a:pt x="10" y="89"/>
                    <a:pt x="12" y="91"/>
                    <a:pt x="18" y="93"/>
                  </a:cubicBezTo>
                  <a:cubicBezTo>
                    <a:pt x="22" y="94"/>
                    <a:pt x="25" y="96"/>
                    <a:pt x="30" y="99"/>
                  </a:cubicBezTo>
                  <a:cubicBezTo>
                    <a:pt x="32" y="101"/>
                    <a:pt x="35" y="101"/>
                    <a:pt x="38" y="102"/>
                  </a:cubicBezTo>
                  <a:cubicBezTo>
                    <a:pt x="40" y="102"/>
                    <a:pt x="41" y="103"/>
                    <a:pt x="43" y="103"/>
                  </a:cubicBezTo>
                  <a:cubicBezTo>
                    <a:pt x="45" y="104"/>
                    <a:pt x="48" y="104"/>
                    <a:pt x="50" y="105"/>
                  </a:cubicBezTo>
                  <a:cubicBezTo>
                    <a:pt x="52" y="105"/>
                    <a:pt x="54" y="105"/>
                    <a:pt x="56" y="106"/>
                  </a:cubicBezTo>
                  <a:cubicBezTo>
                    <a:pt x="57" y="106"/>
                    <a:pt x="59" y="108"/>
                    <a:pt x="60" y="110"/>
                  </a:cubicBezTo>
                  <a:cubicBezTo>
                    <a:pt x="61" y="111"/>
                    <a:pt x="62" y="112"/>
                    <a:pt x="63" y="112"/>
                  </a:cubicBezTo>
                  <a:cubicBezTo>
                    <a:pt x="64" y="113"/>
                    <a:pt x="65" y="114"/>
                    <a:pt x="66" y="115"/>
                  </a:cubicBezTo>
                  <a:cubicBezTo>
                    <a:pt x="69" y="117"/>
                    <a:pt x="71" y="119"/>
                    <a:pt x="71" y="120"/>
                  </a:cubicBezTo>
                  <a:cubicBezTo>
                    <a:pt x="70" y="122"/>
                    <a:pt x="70" y="123"/>
                    <a:pt x="67" y="123"/>
                  </a:cubicBezTo>
                  <a:cubicBezTo>
                    <a:pt x="66" y="123"/>
                    <a:pt x="66" y="123"/>
                    <a:pt x="65" y="123"/>
                  </a:cubicBezTo>
                  <a:cubicBezTo>
                    <a:pt x="61" y="122"/>
                    <a:pt x="57" y="119"/>
                    <a:pt x="54" y="116"/>
                  </a:cubicBezTo>
                  <a:cubicBezTo>
                    <a:pt x="51" y="115"/>
                    <a:pt x="49" y="113"/>
                    <a:pt x="46" y="111"/>
                  </a:cubicBezTo>
                  <a:cubicBezTo>
                    <a:pt x="38" y="107"/>
                    <a:pt x="28" y="106"/>
                    <a:pt x="19" y="105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5" y="104"/>
                    <a:pt x="15" y="104"/>
                    <a:pt x="14" y="104"/>
                  </a:cubicBezTo>
                  <a:cubicBezTo>
                    <a:pt x="12" y="104"/>
                    <a:pt x="11" y="104"/>
                    <a:pt x="9" y="105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91" y="144"/>
                    <a:pt x="91" y="144"/>
                    <a:pt x="91" y="144"/>
                  </a:cubicBezTo>
                  <a:cubicBezTo>
                    <a:pt x="125" y="42"/>
                    <a:pt x="125" y="42"/>
                    <a:pt x="125" y="42"/>
                  </a:cubicBezTo>
                  <a:lnTo>
                    <a:pt x="117" y="48"/>
                  </a:ln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16979474" y="3372278"/>
              <a:ext cx="322125" cy="395713"/>
            </a:xfrm>
            <a:custGeom>
              <a:avLst/>
              <a:gdLst>
                <a:gd name="T0" fmla="*/ 57 w 59"/>
                <a:gd name="T1" fmla="*/ 41 h 80"/>
                <a:gd name="T2" fmla="*/ 46 w 59"/>
                <a:gd name="T3" fmla="*/ 34 h 80"/>
                <a:gd name="T4" fmla="*/ 40 w 59"/>
                <a:gd name="T5" fmla="*/ 38 h 80"/>
                <a:gd name="T6" fmla="*/ 40 w 59"/>
                <a:gd name="T7" fmla="*/ 39 h 80"/>
                <a:gd name="T8" fmla="*/ 40 w 59"/>
                <a:gd name="T9" fmla="*/ 38 h 80"/>
                <a:gd name="T10" fmla="*/ 39 w 59"/>
                <a:gd name="T11" fmla="*/ 37 h 80"/>
                <a:gd name="T12" fmla="*/ 39 w 59"/>
                <a:gd name="T13" fmla="*/ 34 h 80"/>
                <a:gd name="T14" fmla="*/ 38 w 59"/>
                <a:gd name="T15" fmla="*/ 32 h 80"/>
                <a:gd name="T16" fmla="*/ 36 w 59"/>
                <a:gd name="T17" fmla="*/ 32 h 80"/>
                <a:gd name="T18" fmla="*/ 35 w 59"/>
                <a:gd name="T19" fmla="*/ 32 h 80"/>
                <a:gd name="T20" fmla="*/ 36 w 59"/>
                <a:gd name="T21" fmla="*/ 31 h 80"/>
                <a:gd name="T22" fmla="*/ 38 w 59"/>
                <a:gd name="T23" fmla="*/ 26 h 80"/>
                <a:gd name="T24" fmla="*/ 36 w 59"/>
                <a:gd name="T25" fmla="*/ 20 h 80"/>
                <a:gd name="T26" fmla="*/ 36 w 59"/>
                <a:gd name="T27" fmla="*/ 19 h 80"/>
                <a:gd name="T28" fmla="*/ 35 w 59"/>
                <a:gd name="T29" fmla="*/ 13 h 80"/>
                <a:gd name="T30" fmla="*/ 37 w 59"/>
                <a:gd name="T31" fmla="*/ 12 h 80"/>
                <a:gd name="T32" fmla="*/ 40 w 59"/>
                <a:gd name="T33" fmla="*/ 8 h 80"/>
                <a:gd name="T34" fmla="*/ 39 w 59"/>
                <a:gd name="T35" fmla="*/ 2 h 80"/>
                <a:gd name="T36" fmla="*/ 34 w 59"/>
                <a:gd name="T37" fmla="*/ 0 h 80"/>
                <a:gd name="T38" fmla="*/ 27 w 59"/>
                <a:gd name="T39" fmla="*/ 2 h 80"/>
                <a:gd name="T40" fmla="*/ 22 w 59"/>
                <a:gd name="T41" fmla="*/ 6 h 80"/>
                <a:gd name="T42" fmla="*/ 18 w 59"/>
                <a:gd name="T43" fmla="*/ 10 h 80"/>
                <a:gd name="T44" fmla="*/ 13 w 59"/>
                <a:gd name="T45" fmla="*/ 17 h 80"/>
                <a:gd name="T46" fmla="*/ 17 w 59"/>
                <a:gd name="T47" fmla="*/ 26 h 80"/>
                <a:gd name="T48" fmla="*/ 18 w 59"/>
                <a:gd name="T49" fmla="*/ 27 h 80"/>
                <a:gd name="T50" fmla="*/ 17 w 59"/>
                <a:gd name="T51" fmla="*/ 28 h 80"/>
                <a:gd name="T52" fmla="*/ 15 w 59"/>
                <a:gd name="T53" fmla="*/ 33 h 80"/>
                <a:gd name="T54" fmla="*/ 18 w 59"/>
                <a:gd name="T55" fmla="*/ 42 h 80"/>
                <a:gd name="T56" fmla="*/ 20 w 59"/>
                <a:gd name="T57" fmla="*/ 46 h 80"/>
                <a:gd name="T58" fmla="*/ 16 w 59"/>
                <a:gd name="T59" fmla="*/ 48 h 80"/>
                <a:gd name="T60" fmla="*/ 12 w 59"/>
                <a:gd name="T61" fmla="*/ 47 h 80"/>
                <a:gd name="T62" fmla="*/ 9 w 59"/>
                <a:gd name="T63" fmla="*/ 46 h 80"/>
                <a:gd name="T64" fmla="*/ 0 w 59"/>
                <a:gd name="T65" fmla="*/ 76 h 80"/>
                <a:gd name="T66" fmla="*/ 5 w 59"/>
                <a:gd name="T67" fmla="*/ 75 h 80"/>
                <a:gd name="T68" fmla="*/ 10 w 59"/>
                <a:gd name="T69" fmla="*/ 74 h 80"/>
                <a:gd name="T70" fmla="*/ 14 w 59"/>
                <a:gd name="T71" fmla="*/ 74 h 80"/>
                <a:gd name="T72" fmla="*/ 15 w 59"/>
                <a:gd name="T73" fmla="*/ 74 h 80"/>
                <a:gd name="T74" fmla="*/ 17 w 59"/>
                <a:gd name="T75" fmla="*/ 75 h 80"/>
                <a:gd name="T76" fmla="*/ 20 w 59"/>
                <a:gd name="T77" fmla="*/ 77 h 80"/>
                <a:gd name="T78" fmla="*/ 26 w 59"/>
                <a:gd name="T79" fmla="*/ 78 h 80"/>
                <a:gd name="T80" fmla="*/ 28 w 59"/>
                <a:gd name="T81" fmla="*/ 78 h 80"/>
                <a:gd name="T82" fmla="*/ 36 w 59"/>
                <a:gd name="T83" fmla="*/ 80 h 80"/>
                <a:gd name="T84" fmla="*/ 36 w 59"/>
                <a:gd name="T85" fmla="*/ 80 h 80"/>
                <a:gd name="T86" fmla="*/ 48 w 59"/>
                <a:gd name="T87" fmla="*/ 74 h 80"/>
                <a:gd name="T88" fmla="*/ 56 w 59"/>
                <a:gd name="T89" fmla="*/ 57 h 80"/>
                <a:gd name="T90" fmla="*/ 57 w 59"/>
                <a:gd name="T91" fmla="*/ 4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9" h="80">
                  <a:moveTo>
                    <a:pt x="57" y="41"/>
                  </a:moveTo>
                  <a:cubicBezTo>
                    <a:pt x="55" y="37"/>
                    <a:pt x="50" y="34"/>
                    <a:pt x="46" y="34"/>
                  </a:cubicBezTo>
                  <a:cubicBezTo>
                    <a:pt x="43" y="34"/>
                    <a:pt x="41" y="36"/>
                    <a:pt x="40" y="38"/>
                  </a:cubicBezTo>
                  <a:cubicBezTo>
                    <a:pt x="40" y="38"/>
                    <a:pt x="40" y="39"/>
                    <a:pt x="40" y="39"/>
                  </a:cubicBezTo>
                  <a:cubicBezTo>
                    <a:pt x="40" y="38"/>
                    <a:pt x="40" y="38"/>
                    <a:pt x="40" y="38"/>
                  </a:cubicBezTo>
                  <a:cubicBezTo>
                    <a:pt x="39" y="37"/>
                    <a:pt x="39" y="37"/>
                    <a:pt x="39" y="37"/>
                  </a:cubicBezTo>
                  <a:cubicBezTo>
                    <a:pt x="39" y="36"/>
                    <a:pt x="39" y="35"/>
                    <a:pt x="39" y="34"/>
                  </a:cubicBezTo>
                  <a:cubicBezTo>
                    <a:pt x="38" y="32"/>
                    <a:pt x="38" y="32"/>
                    <a:pt x="38" y="32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6" y="32"/>
                    <a:pt x="35" y="32"/>
                    <a:pt x="35" y="32"/>
                  </a:cubicBezTo>
                  <a:cubicBezTo>
                    <a:pt x="35" y="31"/>
                    <a:pt x="35" y="31"/>
                    <a:pt x="36" y="31"/>
                  </a:cubicBezTo>
                  <a:cubicBezTo>
                    <a:pt x="36" y="30"/>
                    <a:pt x="37" y="28"/>
                    <a:pt x="38" y="26"/>
                  </a:cubicBezTo>
                  <a:cubicBezTo>
                    <a:pt x="38" y="24"/>
                    <a:pt x="37" y="22"/>
                    <a:pt x="36" y="20"/>
                  </a:cubicBezTo>
                  <a:cubicBezTo>
                    <a:pt x="36" y="20"/>
                    <a:pt x="36" y="19"/>
                    <a:pt x="36" y="19"/>
                  </a:cubicBezTo>
                  <a:cubicBezTo>
                    <a:pt x="35" y="15"/>
                    <a:pt x="35" y="14"/>
                    <a:pt x="35" y="13"/>
                  </a:cubicBezTo>
                  <a:cubicBezTo>
                    <a:pt x="36" y="13"/>
                    <a:pt x="36" y="12"/>
                    <a:pt x="37" y="12"/>
                  </a:cubicBezTo>
                  <a:cubicBezTo>
                    <a:pt x="38" y="11"/>
                    <a:pt x="39" y="10"/>
                    <a:pt x="40" y="8"/>
                  </a:cubicBezTo>
                  <a:cubicBezTo>
                    <a:pt x="40" y="5"/>
                    <a:pt x="40" y="3"/>
                    <a:pt x="39" y="2"/>
                  </a:cubicBezTo>
                  <a:cubicBezTo>
                    <a:pt x="38" y="0"/>
                    <a:pt x="36" y="0"/>
                    <a:pt x="34" y="0"/>
                  </a:cubicBezTo>
                  <a:cubicBezTo>
                    <a:pt x="32" y="0"/>
                    <a:pt x="29" y="0"/>
                    <a:pt x="27" y="2"/>
                  </a:cubicBezTo>
                  <a:cubicBezTo>
                    <a:pt x="25" y="3"/>
                    <a:pt x="24" y="5"/>
                    <a:pt x="22" y="6"/>
                  </a:cubicBezTo>
                  <a:cubicBezTo>
                    <a:pt x="21" y="7"/>
                    <a:pt x="20" y="9"/>
                    <a:pt x="18" y="10"/>
                  </a:cubicBezTo>
                  <a:cubicBezTo>
                    <a:pt x="15" y="12"/>
                    <a:pt x="14" y="14"/>
                    <a:pt x="13" y="17"/>
                  </a:cubicBezTo>
                  <a:cubicBezTo>
                    <a:pt x="13" y="20"/>
                    <a:pt x="14" y="23"/>
                    <a:pt x="17" y="26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8" y="27"/>
                    <a:pt x="18" y="28"/>
                    <a:pt x="17" y="28"/>
                  </a:cubicBezTo>
                  <a:cubicBezTo>
                    <a:pt x="17" y="29"/>
                    <a:pt x="15" y="30"/>
                    <a:pt x="15" y="33"/>
                  </a:cubicBezTo>
                  <a:cubicBezTo>
                    <a:pt x="14" y="37"/>
                    <a:pt x="16" y="40"/>
                    <a:pt x="18" y="42"/>
                  </a:cubicBezTo>
                  <a:cubicBezTo>
                    <a:pt x="19" y="44"/>
                    <a:pt x="20" y="45"/>
                    <a:pt x="20" y="46"/>
                  </a:cubicBezTo>
                  <a:cubicBezTo>
                    <a:pt x="20" y="48"/>
                    <a:pt x="17" y="48"/>
                    <a:pt x="16" y="48"/>
                  </a:cubicBezTo>
                  <a:cubicBezTo>
                    <a:pt x="15" y="48"/>
                    <a:pt x="13" y="48"/>
                    <a:pt x="12" y="47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6" y="75"/>
                    <a:pt x="8" y="75"/>
                    <a:pt x="10" y="74"/>
                  </a:cubicBezTo>
                  <a:cubicBezTo>
                    <a:pt x="11" y="74"/>
                    <a:pt x="13" y="74"/>
                    <a:pt x="14" y="74"/>
                  </a:cubicBezTo>
                  <a:cubicBezTo>
                    <a:pt x="15" y="74"/>
                    <a:pt x="15" y="74"/>
                    <a:pt x="15" y="74"/>
                  </a:cubicBezTo>
                  <a:cubicBezTo>
                    <a:pt x="16" y="74"/>
                    <a:pt x="16" y="74"/>
                    <a:pt x="17" y="75"/>
                  </a:cubicBezTo>
                  <a:cubicBezTo>
                    <a:pt x="18" y="76"/>
                    <a:pt x="19" y="76"/>
                    <a:pt x="20" y="77"/>
                  </a:cubicBezTo>
                  <a:cubicBezTo>
                    <a:pt x="22" y="78"/>
                    <a:pt x="24" y="78"/>
                    <a:pt x="26" y="78"/>
                  </a:cubicBezTo>
                  <a:cubicBezTo>
                    <a:pt x="27" y="78"/>
                    <a:pt x="28" y="78"/>
                    <a:pt x="28" y="78"/>
                  </a:cubicBezTo>
                  <a:cubicBezTo>
                    <a:pt x="31" y="79"/>
                    <a:pt x="34" y="80"/>
                    <a:pt x="36" y="80"/>
                  </a:cubicBezTo>
                  <a:cubicBezTo>
                    <a:pt x="36" y="80"/>
                    <a:pt x="36" y="80"/>
                    <a:pt x="36" y="80"/>
                  </a:cubicBezTo>
                  <a:cubicBezTo>
                    <a:pt x="40" y="80"/>
                    <a:pt x="44" y="78"/>
                    <a:pt x="48" y="74"/>
                  </a:cubicBezTo>
                  <a:cubicBezTo>
                    <a:pt x="52" y="69"/>
                    <a:pt x="55" y="63"/>
                    <a:pt x="56" y="57"/>
                  </a:cubicBezTo>
                  <a:cubicBezTo>
                    <a:pt x="57" y="52"/>
                    <a:pt x="59" y="47"/>
                    <a:pt x="57" y="41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16558865" y="3351746"/>
              <a:ext cx="170295" cy="119460"/>
            </a:xfrm>
            <a:custGeom>
              <a:avLst/>
              <a:gdLst>
                <a:gd name="T0" fmla="*/ 26 w 31"/>
                <a:gd name="T1" fmla="*/ 0 h 24"/>
                <a:gd name="T2" fmla="*/ 9 w 31"/>
                <a:gd name="T3" fmla="*/ 6 h 24"/>
                <a:gd name="T4" fmla="*/ 9 w 31"/>
                <a:gd name="T5" fmla="*/ 6 h 24"/>
                <a:gd name="T6" fmla="*/ 1 w 31"/>
                <a:gd name="T7" fmla="*/ 12 h 24"/>
                <a:gd name="T8" fmla="*/ 2 w 31"/>
                <a:gd name="T9" fmla="*/ 18 h 24"/>
                <a:gd name="T10" fmla="*/ 7 w 31"/>
                <a:gd name="T11" fmla="*/ 24 h 24"/>
                <a:gd name="T12" fmla="*/ 9 w 31"/>
                <a:gd name="T13" fmla="*/ 24 h 24"/>
                <a:gd name="T14" fmla="*/ 9 w 31"/>
                <a:gd name="T15" fmla="*/ 24 h 24"/>
                <a:gd name="T16" fmla="*/ 17 w 31"/>
                <a:gd name="T17" fmla="*/ 20 h 24"/>
                <a:gd name="T18" fmla="*/ 18 w 31"/>
                <a:gd name="T19" fmla="*/ 19 h 24"/>
                <a:gd name="T20" fmla="*/ 29 w 31"/>
                <a:gd name="T21" fmla="*/ 4 h 24"/>
                <a:gd name="T22" fmla="*/ 31 w 31"/>
                <a:gd name="T23" fmla="*/ 0 h 24"/>
                <a:gd name="T24" fmla="*/ 26 w 31"/>
                <a:gd name="T2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" h="24">
                  <a:moveTo>
                    <a:pt x="26" y="0"/>
                  </a:moveTo>
                  <a:cubicBezTo>
                    <a:pt x="20" y="1"/>
                    <a:pt x="13" y="4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6" y="7"/>
                    <a:pt x="3" y="9"/>
                    <a:pt x="1" y="12"/>
                  </a:cubicBezTo>
                  <a:cubicBezTo>
                    <a:pt x="0" y="13"/>
                    <a:pt x="0" y="16"/>
                    <a:pt x="2" y="18"/>
                  </a:cubicBezTo>
                  <a:cubicBezTo>
                    <a:pt x="3" y="20"/>
                    <a:pt x="5" y="23"/>
                    <a:pt x="7" y="24"/>
                  </a:cubicBezTo>
                  <a:cubicBezTo>
                    <a:pt x="8" y="24"/>
                    <a:pt x="8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12" y="24"/>
                    <a:pt x="15" y="21"/>
                    <a:pt x="17" y="20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14"/>
                    <a:pt x="28" y="9"/>
                    <a:pt x="29" y="4"/>
                  </a:cubicBezTo>
                  <a:cubicBezTo>
                    <a:pt x="31" y="0"/>
                    <a:pt x="31" y="0"/>
                    <a:pt x="31" y="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17769397" y="3282683"/>
              <a:ext cx="190813" cy="110128"/>
            </a:xfrm>
            <a:custGeom>
              <a:avLst/>
              <a:gdLst>
                <a:gd name="T0" fmla="*/ 33 w 35"/>
                <a:gd name="T1" fmla="*/ 7 h 22"/>
                <a:gd name="T2" fmla="*/ 26 w 35"/>
                <a:gd name="T3" fmla="*/ 3 h 22"/>
                <a:gd name="T4" fmla="*/ 25 w 35"/>
                <a:gd name="T5" fmla="*/ 3 h 22"/>
                <a:gd name="T6" fmla="*/ 21 w 35"/>
                <a:gd name="T7" fmla="*/ 2 h 22"/>
                <a:gd name="T8" fmla="*/ 14 w 35"/>
                <a:gd name="T9" fmla="*/ 0 h 22"/>
                <a:gd name="T10" fmla="*/ 10 w 35"/>
                <a:gd name="T11" fmla="*/ 1 h 22"/>
                <a:gd name="T12" fmla="*/ 2 w 35"/>
                <a:gd name="T13" fmla="*/ 14 h 22"/>
                <a:gd name="T14" fmla="*/ 14 w 35"/>
                <a:gd name="T15" fmla="*/ 19 h 22"/>
                <a:gd name="T16" fmla="*/ 17 w 35"/>
                <a:gd name="T17" fmla="*/ 20 h 22"/>
                <a:gd name="T18" fmla="*/ 20 w 35"/>
                <a:gd name="T19" fmla="*/ 21 h 22"/>
                <a:gd name="T20" fmla="*/ 25 w 35"/>
                <a:gd name="T21" fmla="*/ 22 h 22"/>
                <a:gd name="T22" fmla="*/ 32 w 35"/>
                <a:gd name="T23" fmla="*/ 17 h 22"/>
                <a:gd name="T24" fmla="*/ 32 w 35"/>
                <a:gd name="T25" fmla="*/ 16 h 22"/>
                <a:gd name="T26" fmla="*/ 33 w 35"/>
                <a:gd name="T27" fmla="*/ 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" h="22">
                  <a:moveTo>
                    <a:pt x="33" y="7"/>
                  </a:moveTo>
                  <a:cubicBezTo>
                    <a:pt x="32" y="4"/>
                    <a:pt x="28" y="3"/>
                    <a:pt x="26" y="3"/>
                  </a:cubicBezTo>
                  <a:cubicBezTo>
                    <a:pt x="26" y="3"/>
                    <a:pt x="25" y="3"/>
                    <a:pt x="25" y="3"/>
                  </a:cubicBezTo>
                  <a:cubicBezTo>
                    <a:pt x="24" y="3"/>
                    <a:pt x="22" y="2"/>
                    <a:pt x="21" y="2"/>
                  </a:cubicBezTo>
                  <a:cubicBezTo>
                    <a:pt x="19" y="1"/>
                    <a:pt x="17" y="0"/>
                    <a:pt x="14" y="0"/>
                  </a:cubicBezTo>
                  <a:cubicBezTo>
                    <a:pt x="13" y="0"/>
                    <a:pt x="11" y="1"/>
                    <a:pt x="10" y="1"/>
                  </a:cubicBezTo>
                  <a:cubicBezTo>
                    <a:pt x="6" y="3"/>
                    <a:pt x="0" y="8"/>
                    <a:pt x="2" y="14"/>
                  </a:cubicBezTo>
                  <a:cubicBezTo>
                    <a:pt x="3" y="19"/>
                    <a:pt x="10" y="19"/>
                    <a:pt x="14" y="19"/>
                  </a:cubicBezTo>
                  <a:cubicBezTo>
                    <a:pt x="15" y="20"/>
                    <a:pt x="17" y="20"/>
                    <a:pt x="17" y="20"/>
                  </a:cubicBezTo>
                  <a:cubicBezTo>
                    <a:pt x="18" y="20"/>
                    <a:pt x="19" y="20"/>
                    <a:pt x="20" y="21"/>
                  </a:cubicBezTo>
                  <a:cubicBezTo>
                    <a:pt x="22" y="21"/>
                    <a:pt x="24" y="22"/>
                    <a:pt x="25" y="22"/>
                  </a:cubicBezTo>
                  <a:cubicBezTo>
                    <a:pt x="28" y="22"/>
                    <a:pt x="30" y="20"/>
                    <a:pt x="32" y="17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3" y="13"/>
                    <a:pt x="35" y="10"/>
                    <a:pt x="33" y="7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18608563" y="4051710"/>
              <a:ext cx="354953" cy="212789"/>
            </a:xfrm>
            <a:custGeom>
              <a:avLst/>
              <a:gdLst>
                <a:gd name="T0" fmla="*/ 25 w 65"/>
                <a:gd name="T1" fmla="*/ 43 h 43"/>
                <a:gd name="T2" fmla="*/ 22 w 65"/>
                <a:gd name="T3" fmla="*/ 43 h 43"/>
                <a:gd name="T4" fmla="*/ 15 w 65"/>
                <a:gd name="T5" fmla="*/ 36 h 43"/>
                <a:gd name="T6" fmla="*/ 14 w 65"/>
                <a:gd name="T7" fmla="*/ 30 h 43"/>
                <a:gd name="T8" fmla="*/ 13 w 65"/>
                <a:gd name="T9" fmla="*/ 27 h 43"/>
                <a:gd name="T10" fmla="*/ 10 w 65"/>
                <a:gd name="T11" fmla="*/ 26 h 43"/>
                <a:gd name="T12" fmla="*/ 2 w 65"/>
                <a:gd name="T13" fmla="*/ 17 h 43"/>
                <a:gd name="T14" fmla="*/ 3 w 65"/>
                <a:gd name="T15" fmla="*/ 2 h 43"/>
                <a:gd name="T16" fmla="*/ 8 w 65"/>
                <a:gd name="T17" fmla="*/ 0 h 43"/>
                <a:gd name="T18" fmla="*/ 16 w 65"/>
                <a:gd name="T19" fmla="*/ 2 h 43"/>
                <a:gd name="T20" fmla="*/ 20 w 65"/>
                <a:gd name="T21" fmla="*/ 3 h 43"/>
                <a:gd name="T22" fmla="*/ 21 w 65"/>
                <a:gd name="T23" fmla="*/ 3 h 43"/>
                <a:gd name="T24" fmla="*/ 27 w 65"/>
                <a:gd name="T25" fmla="*/ 2 h 43"/>
                <a:gd name="T26" fmla="*/ 36 w 65"/>
                <a:gd name="T27" fmla="*/ 0 h 43"/>
                <a:gd name="T28" fmla="*/ 51 w 65"/>
                <a:gd name="T29" fmla="*/ 10 h 43"/>
                <a:gd name="T30" fmla="*/ 51 w 65"/>
                <a:gd name="T31" fmla="*/ 11 h 43"/>
                <a:gd name="T32" fmla="*/ 56 w 65"/>
                <a:gd name="T33" fmla="*/ 15 h 43"/>
                <a:gd name="T34" fmla="*/ 63 w 65"/>
                <a:gd name="T35" fmla="*/ 24 h 43"/>
                <a:gd name="T36" fmla="*/ 64 w 65"/>
                <a:gd name="T37" fmla="*/ 31 h 43"/>
                <a:gd name="T38" fmla="*/ 54 w 65"/>
                <a:gd name="T39" fmla="*/ 35 h 43"/>
                <a:gd name="T40" fmla="*/ 49 w 65"/>
                <a:gd name="T41" fmla="*/ 35 h 43"/>
                <a:gd name="T42" fmla="*/ 45 w 65"/>
                <a:gd name="T43" fmla="*/ 35 h 43"/>
                <a:gd name="T44" fmla="*/ 39 w 65"/>
                <a:gd name="T45" fmla="*/ 36 h 43"/>
                <a:gd name="T46" fmla="*/ 36 w 65"/>
                <a:gd name="T47" fmla="*/ 38 h 43"/>
                <a:gd name="T48" fmla="*/ 25 w 65"/>
                <a:gd name="T4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" h="43">
                  <a:moveTo>
                    <a:pt x="25" y="43"/>
                  </a:moveTo>
                  <a:cubicBezTo>
                    <a:pt x="24" y="43"/>
                    <a:pt x="23" y="43"/>
                    <a:pt x="22" y="43"/>
                  </a:cubicBezTo>
                  <a:cubicBezTo>
                    <a:pt x="18" y="42"/>
                    <a:pt x="16" y="39"/>
                    <a:pt x="15" y="36"/>
                  </a:cubicBezTo>
                  <a:cubicBezTo>
                    <a:pt x="14" y="34"/>
                    <a:pt x="14" y="32"/>
                    <a:pt x="14" y="30"/>
                  </a:cubicBezTo>
                  <a:cubicBezTo>
                    <a:pt x="14" y="29"/>
                    <a:pt x="14" y="28"/>
                    <a:pt x="13" y="27"/>
                  </a:cubicBezTo>
                  <a:cubicBezTo>
                    <a:pt x="13" y="26"/>
                    <a:pt x="12" y="26"/>
                    <a:pt x="10" y="26"/>
                  </a:cubicBezTo>
                  <a:cubicBezTo>
                    <a:pt x="4" y="25"/>
                    <a:pt x="3" y="20"/>
                    <a:pt x="2" y="17"/>
                  </a:cubicBezTo>
                  <a:cubicBezTo>
                    <a:pt x="1" y="12"/>
                    <a:pt x="0" y="6"/>
                    <a:pt x="3" y="2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1" y="0"/>
                    <a:pt x="14" y="1"/>
                    <a:pt x="16" y="2"/>
                  </a:cubicBezTo>
                  <a:cubicBezTo>
                    <a:pt x="18" y="2"/>
                    <a:pt x="19" y="3"/>
                    <a:pt x="20" y="3"/>
                  </a:cubicBezTo>
                  <a:cubicBezTo>
                    <a:pt x="20" y="3"/>
                    <a:pt x="21" y="3"/>
                    <a:pt x="21" y="3"/>
                  </a:cubicBezTo>
                  <a:cubicBezTo>
                    <a:pt x="23" y="3"/>
                    <a:pt x="25" y="2"/>
                    <a:pt x="27" y="2"/>
                  </a:cubicBezTo>
                  <a:cubicBezTo>
                    <a:pt x="30" y="1"/>
                    <a:pt x="33" y="0"/>
                    <a:pt x="36" y="0"/>
                  </a:cubicBezTo>
                  <a:cubicBezTo>
                    <a:pt x="43" y="1"/>
                    <a:pt x="47" y="5"/>
                    <a:pt x="51" y="10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52" y="12"/>
                    <a:pt x="54" y="14"/>
                    <a:pt x="56" y="15"/>
                  </a:cubicBezTo>
                  <a:cubicBezTo>
                    <a:pt x="58" y="18"/>
                    <a:pt x="61" y="21"/>
                    <a:pt x="63" y="24"/>
                  </a:cubicBezTo>
                  <a:cubicBezTo>
                    <a:pt x="65" y="27"/>
                    <a:pt x="65" y="30"/>
                    <a:pt x="64" y="31"/>
                  </a:cubicBezTo>
                  <a:cubicBezTo>
                    <a:pt x="62" y="34"/>
                    <a:pt x="59" y="35"/>
                    <a:pt x="54" y="35"/>
                  </a:cubicBezTo>
                  <a:cubicBezTo>
                    <a:pt x="52" y="35"/>
                    <a:pt x="51" y="35"/>
                    <a:pt x="49" y="35"/>
                  </a:cubicBezTo>
                  <a:cubicBezTo>
                    <a:pt x="48" y="35"/>
                    <a:pt x="46" y="35"/>
                    <a:pt x="45" y="35"/>
                  </a:cubicBezTo>
                  <a:cubicBezTo>
                    <a:pt x="42" y="35"/>
                    <a:pt x="40" y="35"/>
                    <a:pt x="39" y="36"/>
                  </a:cubicBezTo>
                  <a:cubicBezTo>
                    <a:pt x="38" y="37"/>
                    <a:pt x="37" y="37"/>
                    <a:pt x="36" y="38"/>
                  </a:cubicBezTo>
                  <a:cubicBezTo>
                    <a:pt x="33" y="41"/>
                    <a:pt x="29" y="43"/>
                    <a:pt x="25" y="43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18009452" y="3336813"/>
              <a:ext cx="114898" cy="113861"/>
            </a:xfrm>
            <a:custGeom>
              <a:avLst/>
              <a:gdLst>
                <a:gd name="T0" fmla="*/ 16 w 21"/>
                <a:gd name="T1" fmla="*/ 2 h 23"/>
                <a:gd name="T2" fmla="*/ 10 w 21"/>
                <a:gd name="T3" fmla="*/ 0 h 23"/>
                <a:gd name="T4" fmla="*/ 2 w 21"/>
                <a:gd name="T5" fmla="*/ 4 h 23"/>
                <a:gd name="T6" fmla="*/ 1 w 21"/>
                <a:gd name="T7" fmla="*/ 14 h 23"/>
                <a:gd name="T8" fmla="*/ 12 w 21"/>
                <a:gd name="T9" fmla="*/ 23 h 23"/>
                <a:gd name="T10" fmla="*/ 13 w 21"/>
                <a:gd name="T11" fmla="*/ 23 h 23"/>
                <a:gd name="T12" fmla="*/ 20 w 21"/>
                <a:gd name="T13" fmla="*/ 18 h 23"/>
                <a:gd name="T14" fmla="*/ 16 w 21"/>
                <a:gd name="T15" fmla="*/ 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23">
                  <a:moveTo>
                    <a:pt x="16" y="2"/>
                  </a:moveTo>
                  <a:cubicBezTo>
                    <a:pt x="14" y="1"/>
                    <a:pt x="12" y="0"/>
                    <a:pt x="10" y="0"/>
                  </a:cubicBezTo>
                  <a:cubicBezTo>
                    <a:pt x="7" y="0"/>
                    <a:pt x="4" y="1"/>
                    <a:pt x="2" y="4"/>
                  </a:cubicBezTo>
                  <a:cubicBezTo>
                    <a:pt x="0" y="7"/>
                    <a:pt x="0" y="10"/>
                    <a:pt x="1" y="14"/>
                  </a:cubicBezTo>
                  <a:cubicBezTo>
                    <a:pt x="3" y="17"/>
                    <a:pt x="7" y="23"/>
                    <a:pt x="12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6" y="23"/>
                    <a:pt x="18" y="21"/>
                    <a:pt x="20" y="18"/>
                  </a:cubicBezTo>
                  <a:cubicBezTo>
                    <a:pt x="21" y="12"/>
                    <a:pt x="19" y="5"/>
                    <a:pt x="16" y="2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17732466" y="3432008"/>
              <a:ext cx="974581" cy="550638"/>
            </a:xfrm>
            <a:custGeom>
              <a:avLst/>
              <a:gdLst>
                <a:gd name="T0" fmla="*/ 173 w 179"/>
                <a:gd name="T1" fmla="*/ 74 h 111"/>
                <a:gd name="T2" fmla="*/ 171 w 179"/>
                <a:gd name="T3" fmla="*/ 67 h 111"/>
                <a:gd name="T4" fmla="*/ 163 w 179"/>
                <a:gd name="T5" fmla="*/ 54 h 111"/>
                <a:gd name="T6" fmla="*/ 150 w 179"/>
                <a:gd name="T7" fmla="*/ 50 h 111"/>
                <a:gd name="T8" fmla="*/ 134 w 179"/>
                <a:gd name="T9" fmla="*/ 50 h 111"/>
                <a:gd name="T10" fmla="*/ 130 w 179"/>
                <a:gd name="T11" fmla="*/ 51 h 111"/>
                <a:gd name="T12" fmla="*/ 124 w 179"/>
                <a:gd name="T13" fmla="*/ 50 h 111"/>
                <a:gd name="T14" fmla="*/ 104 w 179"/>
                <a:gd name="T15" fmla="*/ 64 h 111"/>
                <a:gd name="T16" fmla="*/ 99 w 179"/>
                <a:gd name="T17" fmla="*/ 67 h 111"/>
                <a:gd name="T18" fmla="*/ 94 w 179"/>
                <a:gd name="T19" fmla="*/ 63 h 111"/>
                <a:gd name="T20" fmla="*/ 87 w 179"/>
                <a:gd name="T21" fmla="*/ 65 h 111"/>
                <a:gd name="T22" fmla="*/ 83 w 179"/>
                <a:gd name="T23" fmla="*/ 64 h 111"/>
                <a:gd name="T24" fmla="*/ 77 w 179"/>
                <a:gd name="T25" fmla="*/ 62 h 111"/>
                <a:gd name="T26" fmla="*/ 75 w 179"/>
                <a:gd name="T27" fmla="*/ 56 h 111"/>
                <a:gd name="T28" fmla="*/ 65 w 179"/>
                <a:gd name="T29" fmla="*/ 31 h 111"/>
                <a:gd name="T30" fmla="*/ 62 w 179"/>
                <a:gd name="T31" fmla="*/ 31 h 111"/>
                <a:gd name="T32" fmla="*/ 60 w 179"/>
                <a:gd name="T33" fmla="*/ 27 h 111"/>
                <a:gd name="T34" fmla="*/ 51 w 179"/>
                <a:gd name="T35" fmla="*/ 17 h 111"/>
                <a:gd name="T36" fmla="*/ 44 w 179"/>
                <a:gd name="T37" fmla="*/ 20 h 111"/>
                <a:gd name="T38" fmla="*/ 41 w 179"/>
                <a:gd name="T39" fmla="*/ 22 h 111"/>
                <a:gd name="T40" fmla="*/ 38 w 179"/>
                <a:gd name="T41" fmla="*/ 21 h 111"/>
                <a:gd name="T42" fmla="*/ 38 w 179"/>
                <a:gd name="T43" fmla="*/ 17 h 111"/>
                <a:gd name="T44" fmla="*/ 27 w 179"/>
                <a:gd name="T45" fmla="*/ 9 h 111"/>
                <a:gd name="T46" fmla="*/ 22 w 179"/>
                <a:gd name="T47" fmla="*/ 5 h 111"/>
                <a:gd name="T48" fmla="*/ 13 w 179"/>
                <a:gd name="T49" fmla="*/ 0 h 111"/>
                <a:gd name="T50" fmla="*/ 3 w 179"/>
                <a:gd name="T51" fmla="*/ 16 h 111"/>
                <a:gd name="T52" fmla="*/ 7 w 179"/>
                <a:gd name="T53" fmla="*/ 24 h 111"/>
                <a:gd name="T54" fmla="*/ 11 w 179"/>
                <a:gd name="T55" fmla="*/ 33 h 111"/>
                <a:gd name="T56" fmla="*/ 22 w 179"/>
                <a:gd name="T57" fmla="*/ 39 h 111"/>
                <a:gd name="T58" fmla="*/ 32 w 179"/>
                <a:gd name="T59" fmla="*/ 37 h 111"/>
                <a:gd name="T60" fmla="*/ 36 w 179"/>
                <a:gd name="T61" fmla="*/ 43 h 111"/>
                <a:gd name="T62" fmla="*/ 39 w 179"/>
                <a:gd name="T63" fmla="*/ 50 h 111"/>
                <a:gd name="T64" fmla="*/ 41 w 179"/>
                <a:gd name="T65" fmla="*/ 65 h 111"/>
                <a:gd name="T66" fmla="*/ 40 w 179"/>
                <a:gd name="T67" fmla="*/ 76 h 111"/>
                <a:gd name="T68" fmla="*/ 41 w 179"/>
                <a:gd name="T69" fmla="*/ 87 h 111"/>
                <a:gd name="T70" fmla="*/ 49 w 179"/>
                <a:gd name="T71" fmla="*/ 104 h 111"/>
                <a:gd name="T72" fmla="*/ 53 w 179"/>
                <a:gd name="T73" fmla="*/ 103 h 111"/>
                <a:gd name="T74" fmla="*/ 55 w 179"/>
                <a:gd name="T75" fmla="*/ 102 h 111"/>
                <a:gd name="T76" fmla="*/ 57 w 179"/>
                <a:gd name="T77" fmla="*/ 103 h 111"/>
                <a:gd name="T78" fmla="*/ 61 w 179"/>
                <a:gd name="T79" fmla="*/ 105 h 111"/>
                <a:gd name="T80" fmla="*/ 67 w 179"/>
                <a:gd name="T81" fmla="*/ 109 h 111"/>
                <a:gd name="T82" fmla="*/ 76 w 179"/>
                <a:gd name="T83" fmla="*/ 103 h 111"/>
                <a:gd name="T84" fmla="*/ 84 w 179"/>
                <a:gd name="T85" fmla="*/ 111 h 111"/>
                <a:gd name="T86" fmla="*/ 87 w 179"/>
                <a:gd name="T87" fmla="*/ 110 h 111"/>
                <a:gd name="T88" fmla="*/ 103 w 179"/>
                <a:gd name="T89" fmla="*/ 107 h 111"/>
                <a:gd name="T90" fmla="*/ 107 w 179"/>
                <a:gd name="T91" fmla="*/ 107 h 111"/>
                <a:gd name="T92" fmla="*/ 114 w 179"/>
                <a:gd name="T93" fmla="*/ 105 h 111"/>
                <a:gd name="T94" fmla="*/ 119 w 179"/>
                <a:gd name="T95" fmla="*/ 106 h 111"/>
                <a:gd name="T96" fmla="*/ 129 w 179"/>
                <a:gd name="T97" fmla="*/ 106 h 111"/>
                <a:gd name="T98" fmla="*/ 135 w 179"/>
                <a:gd name="T99" fmla="*/ 99 h 111"/>
                <a:gd name="T100" fmla="*/ 139 w 179"/>
                <a:gd name="T101" fmla="*/ 102 h 111"/>
                <a:gd name="T102" fmla="*/ 155 w 179"/>
                <a:gd name="T103" fmla="*/ 104 h 111"/>
                <a:gd name="T104" fmla="*/ 161 w 179"/>
                <a:gd name="T105" fmla="*/ 102 h 111"/>
                <a:gd name="T106" fmla="*/ 168 w 179"/>
                <a:gd name="T107" fmla="*/ 98 h 111"/>
                <a:gd name="T108" fmla="*/ 170 w 179"/>
                <a:gd name="T109" fmla="*/ 90 h 111"/>
                <a:gd name="T110" fmla="*/ 176 w 179"/>
                <a:gd name="T111" fmla="*/ 86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79" h="111">
                  <a:moveTo>
                    <a:pt x="178" y="80"/>
                  </a:moveTo>
                  <a:cubicBezTo>
                    <a:pt x="178" y="78"/>
                    <a:pt x="176" y="75"/>
                    <a:pt x="173" y="74"/>
                  </a:cubicBezTo>
                  <a:cubicBezTo>
                    <a:pt x="172" y="73"/>
                    <a:pt x="171" y="72"/>
                    <a:pt x="171" y="70"/>
                  </a:cubicBezTo>
                  <a:cubicBezTo>
                    <a:pt x="171" y="69"/>
                    <a:pt x="171" y="68"/>
                    <a:pt x="171" y="67"/>
                  </a:cubicBezTo>
                  <a:cubicBezTo>
                    <a:pt x="171" y="66"/>
                    <a:pt x="171" y="65"/>
                    <a:pt x="170" y="64"/>
                  </a:cubicBezTo>
                  <a:cubicBezTo>
                    <a:pt x="170" y="61"/>
                    <a:pt x="169" y="56"/>
                    <a:pt x="163" y="54"/>
                  </a:cubicBezTo>
                  <a:cubicBezTo>
                    <a:pt x="162" y="54"/>
                    <a:pt x="161" y="54"/>
                    <a:pt x="160" y="53"/>
                  </a:cubicBezTo>
                  <a:cubicBezTo>
                    <a:pt x="156" y="52"/>
                    <a:pt x="153" y="52"/>
                    <a:pt x="150" y="50"/>
                  </a:cubicBezTo>
                  <a:cubicBezTo>
                    <a:pt x="147" y="49"/>
                    <a:pt x="145" y="48"/>
                    <a:pt x="143" y="48"/>
                  </a:cubicBezTo>
                  <a:cubicBezTo>
                    <a:pt x="140" y="48"/>
                    <a:pt x="137" y="49"/>
                    <a:pt x="134" y="50"/>
                  </a:cubicBezTo>
                  <a:cubicBezTo>
                    <a:pt x="134" y="51"/>
                    <a:pt x="133" y="51"/>
                    <a:pt x="133" y="51"/>
                  </a:cubicBezTo>
                  <a:cubicBezTo>
                    <a:pt x="132" y="51"/>
                    <a:pt x="131" y="51"/>
                    <a:pt x="130" y="51"/>
                  </a:cubicBezTo>
                  <a:cubicBezTo>
                    <a:pt x="129" y="50"/>
                    <a:pt x="127" y="50"/>
                    <a:pt x="126" y="50"/>
                  </a:cubicBezTo>
                  <a:cubicBezTo>
                    <a:pt x="125" y="50"/>
                    <a:pt x="125" y="50"/>
                    <a:pt x="124" y="50"/>
                  </a:cubicBezTo>
                  <a:cubicBezTo>
                    <a:pt x="118" y="51"/>
                    <a:pt x="112" y="56"/>
                    <a:pt x="107" y="60"/>
                  </a:cubicBezTo>
                  <a:cubicBezTo>
                    <a:pt x="106" y="62"/>
                    <a:pt x="105" y="63"/>
                    <a:pt x="104" y="64"/>
                  </a:cubicBezTo>
                  <a:cubicBezTo>
                    <a:pt x="103" y="64"/>
                    <a:pt x="103" y="64"/>
                    <a:pt x="103" y="64"/>
                  </a:cubicBezTo>
                  <a:cubicBezTo>
                    <a:pt x="102" y="65"/>
                    <a:pt x="100" y="67"/>
                    <a:pt x="99" y="67"/>
                  </a:cubicBezTo>
                  <a:cubicBezTo>
                    <a:pt x="98" y="67"/>
                    <a:pt x="98" y="67"/>
                    <a:pt x="98" y="66"/>
                  </a:cubicBezTo>
                  <a:cubicBezTo>
                    <a:pt x="97" y="65"/>
                    <a:pt x="96" y="63"/>
                    <a:pt x="94" y="63"/>
                  </a:cubicBezTo>
                  <a:cubicBezTo>
                    <a:pt x="93" y="63"/>
                    <a:pt x="93" y="63"/>
                    <a:pt x="92" y="63"/>
                  </a:cubicBezTo>
                  <a:cubicBezTo>
                    <a:pt x="90" y="63"/>
                    <a:pt x="89" y="64"/>
                    <a:pt x="87" y="65"/>
                  </a:cubicBezTo>
                  <a:cubicBezTo>
                    <a:pt x="87" y="65"/>
                    <a:pt x="86" y="65"/>
                    <a:pt x="85" y="65"/>
                  </a:cubicBezTo>
                  <a:cubicBezTo>
                    <a:pt x="85" y="65"/>
                    <a:pt x="84" y="65"/>
                    <a:pt x="83" y="64"/>
                  </a:cubicBezTo>
                  <a:cubicBezTo>
                    <a:pt x="82" y="63"/>
                    <a:pt x="81" y="62"/>
                    <a:pt x="78" y="62"/>
                  </a:cubicBezTo>
                  <a:cubicBezTo>
                    <a:pt x="78" y="62"/>
                    <a:pt x="78" y="62"/>
                    <a:pt x="77" y="62"/>
                  </a:cubicBezTo>
                  <a:cubicBezTo>
                    <a:pt x="76" y="62"/>
                    <a:pt x="75" y="62"/>
                    <a:pt x="74" y="62"/>
                  </a:cubicBezTo>
                  <a:cubicBezTo>
                    <a:pt x="74" y="60"/>
                    <a:pt x="75" y="58"/>
                    <a:pt x="75" y="56"/>
                  </a:cubicBezTo>
                  <a:cubicBezTo>
                    <a:pt x="77" y="49"/>
                    <a:pt x="79" y="42"/>
                    <a:pt x="72" y="34"/>
                  </a:cubicBezTo>
                  <a:cubicBezTo>
                    <a:pt x="70" y="31"/>
                    <a:pt x="67" y="31"/>
                    <a:pt x="65" y="31"/>
                  </a:cubicBezTo>
                  <a:cubicBezTo>
                    <a:pt x="64" y="31"/>
                    <a:pt x="64" y="31"/>
                    <a:pt x="63" y="31"/>
                  </a:cubicBezTo>
                  <a:cubicBezTo>
                    <a:pt x="63" y="31"/>
                    <a:pt x="62" y="31"/>
                    <a:pt x="62" y="31"/>
                  </a:cubicBezTo>
                  <a:cubicBezTo>
                    <a:pt x="61" y="31"/>
                    <a:pt x="61" y="31"/>
                    <a:pt x="60" y="31"/>
                  </a:cubicBezTo>
                  <a:cubicBezTo>
                    <a:pt x="60" y="30"/>
                    <a:pt x="60" y="30"/>
                    <a:pt x="60" y="27"/>
                  </a:cubicBezTo>
                  <a:cubicBezTo>
                    <a:pt x="60" y="26"/>
                    <a:pt x="60" y="24"/>
                    <a:pt x="59" y="23"/>
                  </a:cubicBezTo>
                  <a:cubicBezTo>
                    <a:pt x="58" y="19"/>
                    <a:pt x="55" y="17"/>
                    <a:pt x="51" y="17"/>
                  </a:cubicBezTo>
                  <a:cubicBezTo>
                    <a:pt x="51" y="17"/>
                    <a:pt x="50" y="17"/>
                    <a:pt x="50" y="17"/>
                  </a:cubicBezTo>
                  <a:cubicBezTo>
                    <a:pt x="47" y="18"/>
                    <a:pt x="46" y="19"/>
                    <a:pt x="44" y="20"/>
                  </a:cubicBezTo>
                  <a:cubicBezTo>
                    <a:pt x="44" y="21"/>
                    <a:pt x="43" y="21"/>
                    <a:pt x="43" y="22"/>
                  </a:cubicBezTo>
                  <a:cubicBezTo>
                    <a:pt x="42" y="22"/>
                    <a:pt x="42" y="22"/>
                    <a:pt x="41" y="22"/>
                  </a:cubicBezTo>
                  <a:cubicBezTo>
                    <a:pt x="40" y="22"/>
                    <a:pt x="39" y="22"/>
                    <a:pt x="39" y="22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0"/>
                  </a:cubicBezTo>
                  <a:cubicBezTo>
                    <a:pt x="38" y="19"/>
                    <a:pt x="38" y="18"/>
                    <a:pt x="38" y="17"/>
                  </a:cubicBezTo>
                  <a:cubicBezTo>
                    <a:pt x="37" y="14"/>
                    <a:pt x="35" y="12"/>
                    <a:pt x="31" y="10"/>
                  </a:cubicBezTo>
                  <a:cubicBezTo>
                    <a:pt x="30" y="9"/>
                    <a:pt x="29" y="9"/>
                    <a:pt x="27" y="9"/>
                  </a:cubicBezTo>
                  <a:cubicBezTo>
                    <a:pt x="26" y="8"/>
                    <a:pt x="25" y="8"/>
                    <a:pt x="25" y="8"/>
                  </a:cubicBezTo>
                  <a:cubicBezTo>
                    <a:pt x="23" y="7"/>
                    <a:pt x="23" y="6"/>
                    <a:pt x="22" y="5"/>
                  </a:cubicBezTo>
                  <a:cubicBezTo>
                    <a:pt x="22" y="5"/>
                    <a:pt x="21" y="4"/>
                    <a:pt x="21" y="3"/>
                  </a:cubicBezTo>
                  <a:cubicBezTo>
                    <a:pt x="19" y="1"/>
                    <a:pt x="16" y="0"/>
                    <a:pt x="13" y="0"/>
                  </a:cubicBezTo>
                  <a:cubicBezTo>
                    <a:pt x="9" y="0"/>
                    <a:pt x="4" y="3"/>
                    <a:pt x="2" y="7"/>
                  </a:cubicBezTo>
                  <a:cubicBezTo>
                    <a:pt x="0" y="10"/>
                    <a:pt x="1" y="13"/>
                    <a:pt x="3" y="16"/>
                  </a:cubicBezTo>
                  <a:cubicBezTo>
                    <a:pt x="4" y="18"/>
                    <a:pt x="5" y="20"/>
                    <a:pt x="6" y="22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8" y="25"/>
                    <a:pt x="8" y="26"/>
                    <a:pt x="8" y="27"/>
                  </a:cubicBezTo>
                  <a:cubicBezTo>
                    <a:pt x="8" y="29"/>
                    <a:pt x="9" y="31"/>
                    <a:pt x="11" y="33"/>
                  </a:cubicBezTo>
                  <a:cubicBezTo>
                    <a:pt x="13" y="35"/>
                    <a:pt x="16" y="39"/>
                    <a:pt x="21" y="39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23" y="39"/>
                    <a:pt x="25" y="38"/>
                    <a:pt x="27" y="38"/>
                  </a:cubicBezTo>
                  <a:cubicBezTo>
                    <a:pt x="28" y="37"/>
                    <a:pt x="31" y="37"/>
                    <a:pt x="32" y="37"/>
                  </a:cubicBezTo>
                  <a:cubicBezTo>
                    <a:pt x="33" y="37"/>
                    <a:pt x="34" y="37"/>
                    <a:pt x="35" y="38"/>
                  </a:cubicBezTo>
                  <a:cubicBezTo>
                    <a:pt x="35" y="38"/>
                    <a:pt x="36" y="41"/>
                    <a:pt x="36" y="43"/>
                  </a:cubicBezTo>
                  <a:cubicBezTo>
                    <a:pt x="37" y="44"/>
                    <a:pt x="37" y="46"/>
                    <a:pt x="37" y="47"/>
                  </a:cubicBezTo>
                  <a:cubicBezTo>
                    <a:pt x="38" y="48"/>
                    <a:pt x="38" y="49"/>
                    <a:pt x="39" y="50"/>
                  </a:cubicBezTo>
                  <a:cubicBezTo>
                    <a:pt x="41" y="54"/>
                    <a:pt x="43" y="58"/>
                    <a:pt x="42" y="62"/>
                  </a:cubicBezTo>
                  <a:cubicBezTo>
                    <a:pt x="42" y="63"/>
                    <a:pt x="42" y="64"/>
                    <a:pt x="41" y="65"/>
                  </a:cubicBezTo>
                  <a:cubicBezTo>
                    <a:pt x="41" y="67"/>
                    <a:pt x="40" y="68"/>
                    <a:pt x="40" y="69"/>
                  </a:cubicBezTo>
                  <a:cubicBezTo>
                    <a:pt x="40" y="72"/>
                    <a:pt x="40" y="74"/>
                    <a:pt x="40" y="76"/>
                  </a:cubicBezTo>
                  <a:cubicBezTo>
                    <a:pt x="40" y="77"/>
                    <a:pt x="40" y="78"/>
                    <a:pt x="40" y="78"/>
                  </a:cubicBezTo>
                  <a:cubicBezTo>
                    <a:pt x="40" y="81"/>
                    <a:pt x="41" y="84"/>
                    <a:pt x="41" y="87"/>
                  </a:cubicBezTo>
                  <a:cubicBezTo>
                    <a:pt x="42" y="89"/>
                    <a:pt x="42" y="92"/>
                    <a:pt x="42" y="94"/>
                  </a:cubicBezTo>
                  <a:cubicBezTo>
                    <a:pt x="42" y="97"/>
                    <a:pt x="42" y="103"/>
                    <a:pt x="49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51" y="104"/>
                    <a:pt x="53" y="103"/>
                    <a:pt x="53" y="103"/>
                  </a:cubicBezTo>
                  <a:cubicBezTo>
                    <a:pt x="54" y="103"/>
                    <a:pt x="54" y="102"/>
                    <a:pt x="54" y="102"/>
                  </a:cubicBezTo>
                  <a:cubicBezTo>
                    <a:pt x="54" y="102"/>
                    <a:pt x="54" y="102"/>
                    <a:pt x="55" y="102"/>
                  </a:cubicBezTo>
                  <a:cubicBezTo>
                    <a:pt x="55" y="102"/>
                    <a:pt x="55" y="102"/>
                    <a:pt x="56" y="103"/>
                  </a:cubicBezTo>
                  <a:cubicBezTo>
                    <a:pt x="57" y="103"/>
                    <a:pt x="57" y="103"/>
                    <a:pt x="57" y="103"/>
                  </a:cubicBezTo>
                  <a:cubicBezTo>
                    <a:pt x="58" y="103"/>
                    <a:pt x="59" y="104"/>
                    <a:pt x="60" y="104"/>
                  </a:cubicBezTo>
                  <a:cubicBezTo>
                    <a:pt x="60" y="104"/>
                    <a:pt x="60" y="105"/>
                    <a:pt x="61" y="105"/>
                  </a:cubicBezTo>
                  <a:cubicBezTo>
                    <a:pt x="61" y="106"/>
                    <a:pt x="62" y="107"/>
                    <a:pt x="63" y="107"/>
                  </a:cubicBezTo>
                  <a:cubicBezTo>
                    <a:pt x="64" y="108"/>
                    <a:pt x="66" y="109"/>
                    <a:pt x="67" y="109"/>
                  </a:cubicBezTo>
                  <a:cubicBezTo>
                    <a:pt x="70" y="109"/>
                    <a:pt x="73" y="107"/>
                    <a:pt x="75" y="105"/>
                  </a:cubicBezTo>
                  <a:cubicBezTo>
                    <a:pt x="76" y="104"/>
                    <a:pt x="76" y="104"/>
                    <a:pt x="76" y="103"/>
                  </a:cubicBezTo>
                  <a:cubicBezTo>
                    <a:pt x="76" y="104"/>
                    <a:pt x="76" y="105"/>
                    <a:pt x="77" y="106"/>
                  </a:cubicBezTo>
                  <a:cubicBezTo>
                    <a:pt x="77" y="108"/>
                    <a:pt x="79" y="111"/>
                    <a:pt x="84" y="111"/>
                  </a:cubicBezTo>
                  <a:cubicBezTo>
                    <a:pt x="85" y="111"/>
                    <a:pt x="86" y="110"/>
                    <a:pt x="87" y="110"/>
                  </a:cubicBezTo>
                  <a:cubicBezTo>
                    <a:pt x="87" y="110"/>
                    <a:pt x="87" y="110"/>
                    <a:pt x="87" y="110"/>
                  </a:cubicBezTo>
                  <a:cubicBezTo>
                    <a:pt x="90" y="110"/>
                    <a:pt x="92" y="109"/>
                    <a:pt x="95" y="108"/>
                  </a:cubicBezTo>
                  <a:cubicBezTo>
                    <a:pt x="98" y="108"/>
                    <a:pt x="100" y="107"/>
                    <a:pt x="103" y="107"/>
                  </a:cubicBezTo>
                  <a:cubicBezTo>
                    <a:pt x="103" y="107"/>
                    <a:pt x="103" y="107"/>
                    <a:pt x="104" y="107"/>
                  </a:cubicBezTo>
                  <a:cubicBezTo>
                    <a:pt x="105" y="107"/>
                    <a:pt x="106" y="107"/>
                    <a:pt x="107" y="107"/>
                  </a:cubicBezTo>
                  <a:cubicBezTo>
                    <a:pt x="109" y="107"/>
                    <a:pt x="111" y="107"/>
                    <a:pt x="113" y="106"/>
                  </a:cubicBezTo>
                  <a:cubicBezTo>
                    <a:pt x="114" y="105"/>
                    <a:pt x="114" y="105"/>
                    <a:pt x="114" y="105"/>
                  </a:cubicBezTo>
                  <a:cubicBezTo>
                    <a:pt x="115" y="105"/>
                    <a:pt x="115" y="105"/>
                    <a:pt x="115" y="106"/>
                  </a:cubicBezTo>
                  <a:cubicBezTo>
                    <a:pt x="116" y="106"/>
                    <a:pt x="117" y="106"/>
                    <a:pt x="119" y="106"/>
                  </a:cubicBezTo>
                  <a:cubicBezTo>
                    <a:pt x="119" y="107"/>
                    <a:pt x="120" y="107"/>
                    <a:pt x="121" y="107"/>
                  </a:cubicBezTo>
                  <a:cubicBezTo>
                    <a:pt x="124" y="107"/>
                    <a:pt x="127" y="106"/>
                    <a:pt x="129" y="106"/>
                  </a:cubicBezTo>
                  <a:cubicBezTo>
                    <a:pt x="132" y="105"/>
                    <a:pt x="133" y="103"/>
                    <a:pt x="134" y="101"/>
                  </a:cubicBezTo>
                  <a:cubicBezTo>
                    <a:pt x="134" y="100"/>
                    <a:pt x="135" y="100"/>
                    <a:pt x="135" y="99"/>
                  </a:cubicBezTo>
                  <a:cubicBezTo>
                    <a:pt x="135" y="100"/>
                    <a:pt x="136" y="100"/>
                    <a:pt x="136" y="100"/>
                  </a:cubicBezTo>
                  <a:cubicBezTo>
                    <a:pt x="137" y="101"/>
                    <a:pt x="138" y="102"/>
                    <a:pt x="139" y="102"/>
                  </a:cubicBezTo>
                  <a:cubicBezTo>
                    <a:pt x="143" y="104"/>
                    <a:pt x="147" y="105"/>
                    <a:pt x="151" y="105"/>
                  </a:cubicBezTo>
                  <a:cubicBezTo>
                    <a:pt x="152" y="105"/>
                    <a:pt x="154" y="104"/>
                    <a:pt x="155" y="104"/>
                  </a:cubicBezTo>
                  <a:cubicBezTo>
                    <a:pt x="157" y="104"/>
                    <a:pt x="159" y="103"/>
                    <a:pt x="160" y="102"/>
                  </a:cubicBezTo>
                  <a:cubicBezTo>
                    <a:pt x="160" y="102"/>
                    <a:pt x="161" y="102"/>
                    <a:pt x="161" y="102"/>
                  </a:cubicBezTo>
                  <a:cubicBezTo>
                    <a:pt x="161" y="101"/>
                    <a:pt x="162" y="101"/>
                    <a:pt x="163" y="101"/>
                  </a:cubicBezTo>
                  <a:cubicBezTo>
                    <a:pt x="164" y="101"/>
                    <a:pt x="166" y="100"/>
                    <a:pt x="168" y="98"/>
                  </a:cubicBezTo>
                  <a:cubicBezTo>
                    <a:pt x="169" y="96"/>
                    <a:pt x="170" y="94"/>
                    <a:pt x="170" y="93"/>
                  </a:cubicBezTo>
                  <a:cubicBezTo>
                    <a:pt x="170" y="92"/>
                    <a:pt x="170" y="91"/>
                    <a:pt x="170" y="90"/>
                  </a:cubicBezTo>
                  <a:cubicBezTo>
                    <a:pt x="170" y="90"/>
                    <a:pt x="171" y="89"/>
                    <a:pt x="172" y="89"/>
                  </a:cubicBezTo>
                  <a:cubicBezTo>
                    <a:pt x="174" y="88"/>
                    <a:pt x="175" y="87"/>
                    <a:pt x="176" y="86"/>
                  </a:cubicBezTo>
                  <a:cubicBezTo>
                    <a:pt x="178" y="84"/>
                    <a:pt x="179" y="82"/>
                    <a:pt x="178" y="80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auto">
            <a:xfrm>
              <a:off x="17703741" y="3725060"/>
              <a:ext cx="213382" cy="216522"/>
            </a:xfrm>
            <a:custGeom>
              <a:avLst/>
              <a:gdLst>
                <a:gd name="T0" fmla="*/ 38 w 39"/>
                <a:gd name="T1" fmla="*/ 22 h 44"/>
                <a:gd name="T2" fmla="*/ 37 w 39"/>
                <a:gd name="T3" fmla="*/ 19 h 44"/>
                <a:gd name="T4" fmla="*/ 37 w 39"/>
                <a:gd name="T5" fmla="*/ 18 h 44"/>
                <a:gd name="T6" fmla="*/ 34 w 39"/>
                <a:gd name="T7" fmla="*/ 8 h 44"/>
                <a:gd name="T8" fmla="*/ 27 w 39"/>
                <a:gd name="T9" fmla="*/ 1 h 44"/>
                <a:gd name="T10" fmla="*/ 22 w 39"/>
                <a:gd name="T11" fmla="*/ 0 h 44"/>
                <a:gd name="T12" fmla="*/ 12 w 39"/>
                <a:gd name="T13" fmla="*/ 3 h 44"/>
                <a:gd name="T14" fmla="*/ 8 w 39"/>
                <a:gd name="T15" fmla="*/ 10 h 44"/>
                <a:gd name="T16" fmla="*/ 6 w 39"/>
                <a:gd name="T17" fmla="*/ 14 h 44"/>
                <a:gd name="T18" fmla="*/ 5 w 39"/>
                <a:gd name="T19" fmla="*/ 15 h 44"/>
                <a:gd name="T20" fmla="*/ 2 w 39"/>
                <a:gd name="T21" fmla="*/ 26 h 44"/>
                <a:gd name="T22" fmla="*/ 6 w 39"/>
                <a:gd name="T23" fmla="*/ 31 h 44"/>
                <a:gd name="T24" fmla="*/ 8 w 39"/>
                <a:gd name="T25" fmla="*/ 33 h 44"/>
                <a:gd name="T26" fmla="*/ 14 w 39"/>
                <a:gd name="T27" fmla="*/ 38 h 44"/>
                <a:gd name="T28" fmla="*/ 19 w 39"/>
                <a:gd name="T29" fmla="*/ 41 h 44"/>
                <a:gd name="T30" fmla="*/ 22 w 39"/>
                <a:gd name="T31" fmla="*/ 43 h 44"/>
                <a:gd name="T32" fmla="*/ 27 w 39"/>
                <a:gd name="T33" fmla="*/ 44 h 44"/>
                <a:gd name="T34" fmla="*/ 33 w 39"/>
                <a:gd name="T35" fmla="*/ 43 h 44"/>
                <a:gd name="T36" fmla="*/ 38 w 39"/>
                <a:gd name="T37" fmla="*/ 36 h 44"/>
                <a:gd name="T38" fmla="*/ 38 w 39"/>
                <a:gd name="T39" fmla="*/ 2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9" h="44">
                  <a:moveTo>
                    <a:pt x="38" y="22"/>
                  </a:moveTo>
                  <a:cubicBezTo>
                    <a:pt x="38" y="21"/>
                    <a:pt x="37" y="20"/>
                    <a:pt x="37" y="19"/>
                  </a:cubicBezTo>
                  <a:cubicBezTo>
                    <a:pt x="37" y="18"/>
                    <a:pt x="37" y="18"/>
                    <a:pt x="37" y="18"/>
                  </a:cubicBezTo>
                  <a:cubicBezTo>
                    <a:pt x="36" y="15"/>
                    <a:pt x="36" y="11"/>
                    <a:pt x="34" y="8"/>
                  </a:cubicBezTo>
                  <a:cubicBezTo>
                    <a:pt x="33" y="5"/>
                    <a:pt x="30" y="2"/>
                    <a:pt x="27" y="1"/>
                  </a:cubicBezTo>
                  <a:cubicBezTo>
                    <a:pt x="26" y="0"/>
                    <a:pt x="24" y="0"/>
                    <a:pt x="22" y="0"/>
                  </a:cubicBezTo>
                  <a:cubicBezTo>
                    <a:pt x="19" y="0"/>
                    <a:pt x="14" y="1"/>
                    <a:pt x="12" y="3"/>
                  </a:cubicBezTo>
                  <a:cubicBezTo>
                    <a:pt x="10" y="5"/>
                    <a:pt x="9" y="8"/>
                    <a:pt x="8" y="10"/>
                  </a:cubicBezTo>
                  <a:cubicBezTo>
                    <a:pt x="8" y="11"/>
                    <a:pt x="7" y="13"/>
                    <a:pt x="6" y="14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3" y="17"/>
                    <a:pt x="0" y="21"/>
                    <a:pt x="2" y="26"/>
                  </a:cubicBezTo>
                  <a:cubicBezTo>
                    <a:pt x="3" y="29"/>
                    <a:pt x="5" y="30"/>
                    <a:pt x="6" y="31"/>
                  </a:cubicBezTo>
                  <a:cubicBezTo>
                    <a:pt x="7" y="32"/>
                    <a:pt x="8" y="32"/>
                    <a:pt x="8" y="33"/>
                  </a:cubicBezTo>
                  <a:cubicBezTo>
                    <a:pt x="10" y="35"/>
                    <a:pt x="12" y="37"/>
                    <a:pt x="14" y="38"/>
                  </a:cubicBezTo>
                  <a:cubicBezTo>
                    <a:pt x="16" y="40"/>
                    <a:pt x="18" y="41"/>
                    <a:pt x="19" y="41"/>
                  </a:cubicBezTo>
                  <a:cubicBezTo>
                    <a:pt x="20" y="42"/>
                    <a:pt x="21" y="42"/>
                    <a:pt x="22" y="43"/>
                  </a:cubicBezTo>
                  <a:cubicBezTo>
                    <a:pt x="24" y="44"/>
                    <a:pt x="26" y="44"/>
                    <a:pt x="27" y="44"/>
                  </a:cubicBezTo>
                  <a:cubicBezTo>
                    <a:pt x="29" y="44"/>
                    <a:pt x="31" y="44"/>
                    <a:pt x="33" y="43"/>
                  </a:cubicBezTo>
                  <a:cubicBezTo>
                    <a:pt x="35" y="41"/>
                    <a:pt x="37" y="39"/>
                    <a:pt x="38" y="36"/>
                  </a:cubicBezTo>
                  <a:cubicBezTo>
                    <a:pt x="39" y="31"/>
                    <a:pt x="38" y="26"/>
                    <a:pt x="38" y="22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17621671" y="4874867"/>
              <a:ext cx="82070" cy="78396"/>
            </a:xfrm>
            <a:custGeom>
              <a:avLst/>
              <a:gdLst>
                <a:gd name="T0" fmla="*/ 10 w 15"/>
                <a:gd name="T1" fmla="*/ 1 h 16"/>
                <a:gd name="T2" fmla="*/ 6 w 15"/>
                <a:gd name="T3" fmla="*/ 0 h 16"/>
                <a:gd name="T4" fmla="*/ 1 w 15"/>
                <a:gd name="T5" fmla="*/ 2 h 16"/>
                <a:gd name="T6" fmla="*/ 0 w 15"/>
                <a:gd name="T7" fmla="*/ 7 h 16"/>
                <a:gd name="T8" fmla="*/ 10 w 15"/>
                <a:gd name="T9" fmla="*/ 16 h 16"/>
                <a:gd name="T10" fmla="*/ 10 w 15"/>
                <a:gd name="T11" fmla="*/ 16 h 16"/>
                <a:gd name="T12" fmla="*/ 12 w 15"/>
                <a:gd name="T13" fmla="*/ 16 h 16"/>
                <a:gd name="T14" fmla="*/ 15 w 15"/>
                <a:gd name="T15" fmla="*/ 10 h 16"/>
                <a:gd name="T16" fmla="*/ 10 w 15"/>
                <a:gd name="T17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6">
                  <a:moveTo>
                    <a:pt x="10" y="1"/>
                  </a:moveTo>
                  <a:cubicBezTo>
                    <a:pt x="9" y="1"/>
                    <a:pt x="7" y="0"/>
                    <a:pt x="6" y="0"/>
                  </a:cubicBezTo>
                  <a:cubicBezTo>
                    <a:pt x="4" y="0"/>
                    <a:pt x="3" y="1"/>
                    <a:pt x="1" y="2"/>
                  </a:cubicBezTo>
                  <a:cubicBezTo>
                    <a:pt x="0" y="4"/>
                    <a:pt x="0" y="5"/>
                    <a:pt x="0" y="7"/>
                  </a:cubicBezTo>
                  <a:cubicBezTo>
                    <a:pt x="1" y="11"/>
                    <a:pt x="6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4" y="15"/>
                    <a:pt x="15" y="13"/>
                    <a:pt x="15" y="10"/>
                  </a:cubicBezTo>
                  <a:cubicBezTo>
                    <a:pt x="15" y="7"/>
                    <a:pt x="12" y="3"/>
                    <a:pt x="10" y="1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17933537" y="4835669"/>
              <a:ext cx="65656" cy="54131"/>
            </a:xfrm>
            <a:custGeom>
              <a:avLst/>
              <a:gdLst>
                <a:gd name="T0" fmla="*/ 11 w 12"/>
                <a:gd name="T1" fmla="*/ 4 h 11"/>
                <a:gd name="T2" fmla="*/ 7 w 12"/>
                <a:gd name="T3" fmla="*/ 0 h 11"/>
                <a:gd name="T4" fmla="*/ 1 w 12"/>
                <a:gd name="T5" fmla="*/ 6 h 11"/>
                <a:gd name="T6" fmla="*/ 3 w 12"/>
                <a:gd name="T7" fmla="*/ 10 h 11"/>
                <a:gd name="T8" fmla="*/ 5 w 12"/>
                <a:gd name="T9" fmla="*/ 11 h 11"/>
                <a:gd name="T10" fmla="*/ 5 w 12"/>
                <a:gd name="T11" fmla="*/ 11 h 11"/>
                <a:gd name="T12" fmla="*/ 10 w 12"/>
                <a:gd name="T13" fmla="*/ 8 h 11"/>
                <a:gd name="T14" fmla="*/ 11 w 12"/>
                <a:gd name="T15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1">
                  <a:moveTo>
                    <a:pt x="11" y="4"/>
                  </a:moveTo>
                  <a:cubicBezTo>
                    <a:pt x="11" y="0"/>
                    <a:pt x="8" y="0"/>
                    <a:pt x="7" y="0"/>
                  </a:cubicBezTo>
                  <a:cubicBezTo>
                    <a:pt x="3" y="0"/>
                    <a:pt x="1" y="4"/>
                    <a:pt x="1" y="6"/>
                  </a:cubicBezTo>
                  <a:cubicBezTo>
                    <a:pt x="0" y="8"/>
                    <a:pt x="2" y="10"/>
                    <a:pt x="3" y="10"/>
                  </a:cubicBezTo>
                  <a:cubicBezTo>
                    <a:pt x="4" y="10"/>
                    <a:pt x="4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7" y="11"/>
                    <a:pt x="9" y="10"/>
                    <a:pt x="10" y="8"/>
                  </a:cubicBezTo>
                  <a:cubicBezTo>
                    <a:pt x="11" y="7"/>
                    <a:pt x="12" y="6"/>
                    <a:pt x="11" y="4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16146464" y="4036777"/>
              <a:ext cx="1171549" cy="946351"/>
            </a:xfrm>
            <a:custGeom>
              <a:avLst/>
              <a:gdLst>
                <a:gd name="T0" fmla="*/ 209 w 215"/>
                <a:gd name="T1" fmla="*/ 139 h 191"/>
                <a:gd name="T2" fmla="*/ 205 w 215"/>
                <a:gd name="T3" fmla="*/ 135 h 191"/>
                <a:gd name="T4" fmla="*/ 197 w 215"/>
                <a:gd name="T5" fmla="*/ 125 h 191"/>
                <a:gd name="T6" fmla="*/ 189 w 215"/>
                <a:gd name="T7" fmla="*/ 119 h 191"/>
                <a:gd name="T8" fmla="*/ 181 w 215"/>
                <a:gd name="T9" fmla="*/ 110 h 191"/>
                <a:gd name="T10" fmla="*/ 178 w 215"/>
                <a:gd name="T11" fmla="*/ 104 h 191"/>
                <a:gd name="T12" fmla="*/ 179 w 215"/>
                <a:gd name="T13" fmla="*/ 90 h 191"/>
                <a:gd name="T14" fmla="*/ 181 w 215"/>
                <a:gd name="T15" fmla="*/ 69 h 191"/>
                <a:gd name="T16" fmla="*/ 180 w 215"/>
                <a:gd name="T17" fmla="*/ 57 h 191"/>
                <a:gd name="T18" fmla="*/ 182 w 215"/>
                <a:gd name="T19" fmla="*/ 50 h 191"/>
                <a:gd name="T20" fmla="*/ 184 w 215"/>
                <a:gd name="T21" fmla="*/ 44 h 191"/>
                <a:gd name="T22" fmla="*/ 185 w 215"/>
                <a:gd name="T23" fmla="*/ 35 h 191"/>
                <a:gd name="T24" fmla="*/ 181 w 215"/>
                <a:gd name="T25" fmla="*/ 21 h 191"/>
                <a:gd name="T26" fmla="*/ 177 w 215"/>
                <a:gd name="T27" fmla="*/ 16 h 191"/>
                <a:gd name="T28" fmla="*/ 165 w 215"/>
                <a:gd name="T29" fmla="*/ 3 h 191"/>
                <a:gd name="T30" fmla="*/ 149 w 215"/>
                <a:gd name="T31" fmla="*/ 9 h 191"/>
                <a:gd name="T32" fmla="*/ 148 w 215"/>
                <a:gd name="T33" fmla="*/ 15 h 191"/>
                <a:gd name="T34" fmla="*/ 146 w 215"/>
                <a:gd name="T35" fmla="*/ 30 h 191"/>
                <a:gd name="T36" fmla="*/ 145 w 215"/>
                <a:gd name="T37" fmla="*/ 38 h 191"/>
                <a:gd name="T38" fmla="*/ 146 w 215"/>
                <a:gd name="T39" fmla="*/ 50 h 191"/>
                <a:gd name="T40" fmla="*/ 143 w 215"/>
                <a:gd name="T41" fmla="*/ 62 h 191"/>
                <a:gd name="T42" fmla="*/ 141 w 215"/>
                <a:gd name="T43" fmla="*/ 44 h 191"/>
                <a:gd name="T44" fmla="*/ 138 w 215"/>
                <a:gd name="T45" fmla="*/ 16 h 191"/>
                <a:gd name="T46" fmla="*/ 131 w 215"/>
                <a:gd name="T47" fmla="*/ 10 h 191"/>
                <a:gd name="T48" fmla="*/ 5 w 215"/>
                <a:gd name="T49" fmla="*/ 82 h 191"/>
                <a:gd name="T50" fmla="*/ 2 w 215"/>
                <a:gd name="T51" fmla="*/ 98 h 191"/>
                <a:gd name="T52" fmla="*/ 3 w 215"/>
                <a:gd name="T53" fmla="*/ 104 h 191"/>
                <a:gd name="T54" fmla="*/ 15 w 215"/>
                <a:gd name="T55" fmla="*/ 121 h 191"/>
                <a:gd name="T56" fmla="*/ 30 w 215"/>
                <a:gd name="T57" fmla="*/ 128 h 191"/>
                <a:gd name="T58" fmla="*/ 32 w 215"/>
                <a:gd name="T59" fmla="*/ 127 h 191"/>
                <a:gd name="T60" fmla="*/ 35 w 215"/>
                <a:gd name="T61" fmla="*/ 128 h 191"/>
                <a:gd name="T62" fmla="*/ 34 w 215"/>
                <a:gd name="T63" fmla="*/ 140 h 191"/>
                <a:gd name="T64" fmla="*/ 36 w 215"/>
                <a:gd name="T65" fmla="*/ 163 h 191"/>
                <a:gd name="T66" fmla="*/ 49 w 215"/>
                <a:gd name="T67" fmla="*/ 165 h 191"/>
                <a:gd name="T68" fmla="*/ 59 w 215"/>
                <a:gd name="T69" fmla="*/ 167 h 191"/>
                <a:gd name="T70" fmla="*/ 74 w 215"/>
                <a:gd name="T71" fmla="*/ 170 h 191"/>
                <a:gd name="T72" fmla="*/ 82 w 215"/>
                <a:gd name="T73" fmla="*/ 172 h 191"/>
                <a:gd name="T74" fmla="*/ 101 w 215"/>
                <a:gd name="T75" fmla="*/ 167 h 191"/>
                <a:gd name="T76" fmla="*/ 108 w 215"/>
                <a:gd name="T77" fmla="*/ 168 h 191"/>
                <a:gd name="T78" fmla="*/ 120 w 215"/>
                <a:gd name="T79" fmla="*/ 169 h 191"/>
                <a:gd name="T80" fmla="*/ 131 w 215"/>
                <a:gd name="T81" fmla="*/ 158 h 191"/>
                <a:gd name="T82" fmla="*/ 134 w 215"/>
                <a:gd name="T83" fmla="*/ 153 h 191"/>
                <a:gd name="T84" fmla="*/ 134 w 215"/>
                <a:gd name="T85" fmla="*/ 158 h 191"/>
                <a:gd name="T86" fmla="*/ 133 w 215"/>
                <a:gd name="T87" fmla="*/ 167 h 191"/>
                <a:gd name="T88" fmla="*/ 144 w 215"/>
                <a:gd name="T89" fmla="*/ 169 h 191"/>
                <a:gd name="T90" fmla="*/ 145 w 215"/>
                <a:gd name="T91" fmla="*/ 174 h 191"/>
                <a:gd name="T92" fmla="*/ 157 w 215"/>
                <a:gd name="T93" fmla="*/ 184 h 191"/>
                <a:gd name="T94" fmla="*/ 167 w 215"/>
                <a:gd name="T95" fmla="*/ 188 h 191"/>
                <a:gd name="T96" fmla="*/ 184 w 215"/>
                <a:gd name="T97" fmla="*/ 189 h 191"/>
                <a:gd name="T98" fmla="*/ 195 w 215"/>
                <a:gd name="T99" fmla="*/ 179 h 191"/>
                <a:gd name="T100" fmla="*/ 195 w 215"/>
                <a:gd name="T101" fmla="*/ 173 h 191"/>
                <a:gd name="T102" fmla="*/ 195 w 215"/>
                <a:gd name="T103" fmla="*/ 165 h 191"/>
                <a:gd name="T104" fmla="*/ 191 w 215"/>
                <a:gd name="T105" fmla="*/ 156 h 191"/>
                <a:gd name="T106" fmla="*/ 192 w 215"/>
                <a:gd name="T107" fmla="*/ 155 h 191"/>
                <a:gd name="T108" fmla="*/ 198 w 215"/>
                <a:gd name="T109" fmla="*/ 158 h 191"/>
                <a:gd name="T110" fmla="*/ 202 w 215"/>
                <a:gd name="T111" fmla="*/ 157 h 191"/>
                <a:gd name="T112" fmla="*/ 207 w 215"/>
                <a:gd name="T113" fmla="*/ 161 h 191"/>
                <a:gd name="T114" fmla="*/ 214 w 215"/>
                <a:gd name="T115" fmla="*/ 154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5" h="191">
                  <a:moveTo>
                    <a:pt x="212" y="142"/>
                  </a:moveTo>
                  <a:cubicBezTo>
                    <a:pt x="211" y="141"/>
                    <a:pt x="210" y="140"/>
                    <a:pt x="209" y="139"/>
                  </a:cubicBezTo>
                  <a:cubicBezTo>
                    <a:pt x="209" y="139"/>
                    <a:pt x="208" y="138"/>
                    <a:pt x="207" y="138"/>
                  </a:cubicBezTo>
                  <a:cubicBezTo>
                    <a:pt x="207" y="137"/>
                    <a:pt x="206" y="136"/>
                    <a:pt x="205" y="135"/>
                  </a:cubicBezTo>
                  <a:cubicBezTo>
                    <a:pt x="205" y="134"/>
                    <a:pt x="205" y="134"/>
                    <a:pt x="204" y="133"/>
                  </a:cubicBezTo>
                  <a:cubicBezTo>
                    <a:pt x="202" y="130"/>
                    <a:pt x="199" y="127"/>
                    <a:pt x="197" y="125"/>
                  </a:cubicBezTo>
                  <a:cubicBezTo>
                    <a:pt x="196" y="124"/>
                    <a:pt x="195" y="124"/>
                    <a:pt x="194" y="123"/>
                  </a:cubicBezTo>
                  <a:cubicBezTo>
                    <a:pt x="193" y="121"/>
                    <a:pt x="191" y="120"/>
                    <a:pt x="189" y="119"/>
                  </a:cubicBezTo>
                  <a:cubicBezTo>
                    <a:pt x="187" y="118"/>
                    <a:pt x="185" y="117"/>
                    <a:pt x="184" y="115"/>
                  </a:cubicBezTo>
                  <a:cubicBezTo>
                    <a:pt x="183" y="114"/>
                    <a:pt x="182" y="112"/>
                    <a:pt x="181" y="110"/>
                  </a:cubicBezTo>
                  <a:cubicBezTo>
                    <a:pt x="181" y="109"/>
                    <a:pt x="181" y="109"/>
                    <a:pt x="181" y="108"/>
                  </a:cubicBezTo>
                  <a:cubicBezTo>
                    <a:pt x="180" y="107"/>
                    <a:pt x="179" y="105"/>
                    <a:pt x="178" y="104"/>
                  </a:cubicBezTo>
                  <a:cubicBezTo>
                    <a:pt x="178" y="103"/>
                    <a:pt x="177" y="102"/>
                    <a:pt x="177" y="101"/>
                  </a:cubicBezTo>
                  <a:cubicBezTo>
                    <a:pt x="175" y="98"/>
                    <a:pt x="177" y="95"/>
                    <a:pt x="179" y="90"/>
                  </a:cubicBezTo>
                  <a:cubicBezTo>
                    <a:pt x="182" y="86"/>
                    <a:pt x="184" y="80"/>
                    <a:pt x="183" y="75"/>
                  </a:cubicBezTo>
                  <a:cubicBezTo>
                    <a:pt x="183" y="73"/>
                    <a:pt x="182" y="71"/>
                    <a:pt x="181" y="69"/>
                  </a:cubicBezTo>
                  <a:cubicBezTo>
                    <a:pt x="180" y="66"/>
                    <a:pt x="179" y="64"/>
                    <a:pt x="179" y="61"/>
                  </a:cubicBezTo>
                  <a:cubicBezTo>
                    <a:pt x="179" y="60"/>
                    <a:pt x="179" y="59"/>
                    <a:pt x="180" y="57"/>
                  </a:cubicBezTo>
                  <a:cubicBezTo>
                    <a:pt x="181" y="56"/>
                    <a:pt x="181" y="56"/>
                    <a:pt x="181" y="56"/>
                  </a:cubicBezTo>
                  <a:cubicBezTo>
                    <a:pt x="181" y="54"/>
                    <a:pt x="182" y="52"/>
                    <a:pt x="182" y="50"/>
                  </a:cubicBezTo>
                  <a:cubicBezTo>
                    <a:pt x="182" y="49"/>
                    <a:pt x="182" y="49"/>
                    <a:pt x="182" y="49"/>
                  </a:cubicBezTo>
                  <a:cubicBezTo>
                    <a:pt x="183" y="47"/>
                    <a:pt x="183" y="46"/>
                    <a:pt x="184" y="44"/>
                  </a:cubicBezTo>
                  <a:cubicBezTo>
                    <a:pt x="185" y="42"/>
                    <a:pt x="185" y="39"/>
                    <a:pt x="185" y="35"/>
                  </a:cubicBezTo>
                  <a:cubicBezTo>
                    <a:pt x="185" y="35"/>
                    <a:pt x="185" y="35"/>
                    <a:pt x="185" y="35"/>
                  </a:cubicBezTo>
                  <a:cubicBezTo>
                    <a:pt x="185" y="32"/>
                    <a:pt x="185" y="29"/>
                    <a:pt x="184" y="25"/>
                  </a:cubicBezTo>
                  <a:cubicBezTo>
                    <a:pt x="183" y="23"/>
                    <a:pt x="182" y="22"/>
                    <a:pt x="181" y="21"/>
                  </a:cubicBezTo>
                  <a:cubicBezTo>
                    <a:pt x="180" y="20"/>
                    <a:pt x="180" y="19"/>
                    <a:pt x="179" y="19"/>
                  </a:cubicBezTo>
                  <a:cubicBezTo>
                    <a:pt x="179" y="18"/>
                    <a:pt x="178" y="17"/>
                    <a:pt x="177" y="16"/>
                  </a:cubicBezTo>
                  <a:cubicBezTo>
                    <a:pt x="175" y="12"/>
                    <a:pt x="173" y="7"/>
                    <a:pt x="168" y="5"/>
                  </a:cubicBezTo>
                  <a:cubicBezTo>
                    <a:pt x="167" y="4"/>
                    <a:pt x="166" y="4"/>
                    <a:pt x="165" y="3"/>
                  </a:cubicBezTo>
                  <a:cubicBezTo>
                    <a:pt x="163" y="2"/>
                    <a:pt x="160" y="0"/>
                    <a:pt x="157" y="0"/>
                  </a:cubicBezTo>
                  <a:cubicBezTo>
                    <a:pt x="151" y="0"/>
                    <a:pt x="149" y="6"/>
                    <a:pt x="149" y="9"/>
                  </a:cubicBezTo>
                  <a:cubicBezTo>
                    <a:pt x="149" y="10"/>
                    <a:pt x="149" y="10"/>
                    <a:pt x="149" y="10"/>
                  </a:cubicBezTo>
                  <a:cubicBezTo>
                    <a:pt x="148" y="12"/>
                    <a:pt x="148" y="14"/>
                    <a:pt x="148" y="15"/>
                  </a:cubicBezTo>
                  <a:cubicBezTo>
                    <a:pt x="147" y="17"/>
                    <a:pt x="147" y="20"/>
                    <a:pt x="146" y="22"/>
                  </a:cubicBezTo>
                  <a:cubicBezTo>
                    <a:pt x="146" y="24"/>
                    <a:pt x="146" y="27"/>
                    <a:pt x="146" y="30"/>
                  </a:cubicBezTo>
                  <a:cubicBezTo>
                    <a:pt x="146" y="31"/>
                    <a:pt x="146" y="33"/>
                    <a:pt x="146" y="34"/>
                  </a:cubicBezTo>
                  <a:cubicBezTo>
                    <a:pt x="146" y="36"/>
                    <a:pt x="145" y="37"/>
                    <a:pt x="145" y="38"/>
                  </a:cubicBezTo>
                  <a:cubicBezTo>
                    <a:pt x="145" y="40"/>
                    <a:pt x="145" y="43"/>
                    <a:pt x="145" y="46"/>
                  </a:cubicBezTo>
                  <a:cubicBezTo>
                    <a:pt x="145" y="47"/>
                    <a:pt x="146" y="49"/>
                    <a:pt x="146" y="50"/>
                  </a:cubicBezTo>
                  <a:cubicBezTo>
                    <a:pt x="146" y="52"/>
                    <a:pt x="147" y="54"/>
                    <a:pt x="147" y="55"/>
                  </a:cubicBezTo>
                  <a:cubicBezTo>
                    <a:pt x="146" y="58"/>
                    <a:pt x="144" y="62"/>
                    <a:pt x="143" y="62"/>
                  </a:cubicBezTo>
                  <a:cubicBezTo>
                    <a:pt x="143" y="62"/>
                    <a:pt x="142" y="62"/>
                    <a:pt x="141" y="59"/>
                  </a:cubicBezTo>
                  <a:cubicBezTo>
                    <a:pt x="140" y="54"/>
                    <a:pt x="140" y="49"/>
                    <a:pt x="141" y="44"/>
                  </a:cubicBezTo>
                  <a:cubicBezTo>
                    <a:pt x="142" y="41"/>
                    <a:pt x="142" y="39"/>
                    <a:pt x="142" y="37"/>
                  </a:cubicBezTo>
                  <a:cubicBezTo>
                    <a:pt x="143" y="29"/>
                    <a:pt x="140" y="22"/>
                    <a:pt x="138" y="16"/>
                  </a:cubicBezTo>
                  <a:cubicBezTo>
                    <a:pt x="136" y="14"/>
                    <a:pt x="135" y="13"/>
                    <a:pt x="134" y="12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94" y="118"/>
                    <a:pt x="94" y="118"/>
                    <a:pt x="94" y="118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0" y="88"/>
                    <a:pt x="1" y="93"/>
                    <a:pt x="2" y="98"/>
                  </a:cubicBezTo>
                  <a:cubicBezTo>
                    <a:pt x="2" y="98"/>
                    <a:pt x="2" y="99"/>
                    <a:pt x="2" y="100"/>
                  </a:cubicBezTo>
                  <a:cubicBezTo>
                    <a:pt x="3" y="101"/>
                    <a:pt x="3" y="102"/>
                    <a:pt x="3" y="104"/>
                  </a:cubicBezTo>
                  <a:cubicBezTo>
                    <a:pt x="3" y="105"/>
                    <a:pt x="3" y="107"/>
                    <a:pt x="4" y="109"/>
                  </a:cubicBezTo>
                  <a:cubicBezTo>
                    <a:pt x="5" y="116"/>
                    <a:pt x="11" y="118"/>
                    <a:pt x="15" y="121"/>
                  </a:cubicBezTo>
                  <a:cubicBezTo>
                    <a:pt x="18" y="122"/>
                    <a:pt x="20" y="123"/>
                    <a:pt x="21" y="124"/>
                  </a:cubicBezTo>
                  <a:cubicBezTo>
                    <a:pt x="24" y="126"/>
                    <a:pt x="26" y="127"/>
                    <a:pt x="30" y="128"/>
                  </a:cubicBezTo>
                  <a:cubicBezTo>
                    <a:pt x="30" y="128"/>
                    <a:pt x="30" y="128"/>
                    <a:pt x="30" y="128"/>
                  </a:cubicBezTo>
                  <a:cubicBezTo>
                    <a:pt x="31" y="128"/>
                    <a:pt x="32" y="127"/>
                    <a:pt x="32" y="127"/>
                  </a:cubicBezTo>
                  <a:cubicBezTo>
                    <a:pt x="33" y="127"/>
                    <a:pt x="33" y="127"/>
                    <a:pt x="34" y="127"/>
                  </a:cubicBezTo>
                  <a:cubicBezTo>
                    <a:pt x="35" y="127"/>
                    <a:pt x="35" y="128"/>
                    <a:pt x="35" y="128"/>
                  </a:cubicBezTo>
                  <a:cubicBezTo>
                    <a:pt x="36" y="130"/>
                    <a:pt x="37" y="134"/>
                    <a:pt x="35" y="137"/>
                  </a:cubicBezTo>
                  <a:cubicBezTo>
                    <a:pt x="35" y="138"/>
                    <a:pt x="34" y="139"/>
                    <a:pt x="34" y="140"/>
                  </a:cubicBezTo>
                  <a:cubicBezTo>
                    <a:pt x="33" y="141"/>
                    <a:pt x="31" y="143"/>
                    <a:pt x="31" y="146"/>
                  </a:cubicBezTo>
                  <a:cubicBezTo>
                    <a:pt x="29" y="152"/>
                    <a:pt x="32" y="159"/>
                    <a:pt x="36" y="163"/>
                  </a:cubicBezTo>
                  <a:cubicBezTo>
                    <a:pt x="39" y="165"/>
                    <a:pt x="43" y="165"/>
                    <a:pt x="46" y="165"/>
                  </a:cubicBezTo>
                  <a:cubicBezTo>
                    <a:pt x="46" y="165"/>
                    <a:pt x="49" y="165"/>
                    <a:pt x="49" y="165"/>
                  </a:cubicBezTo>
                  <a:cubicBezTo>
                    <a:pt x="51" y="165"/>
                    <a:pt x="52" y="166"/>
                    <a:pt x="54" y="166"/>
                  </a:cubicBezTo>
                  <a:cubicBezTo>
                    <a:pt x="55" y="166"/>
                    <a:pt x="57" y="167"/>
                    <a:pt x="59" y="167"/>
                  </a:cubicBezTo>
                  <a:cubicBezTo>
                    <a:pt x="63" y="167"/>
                    <a:pt x="68" y="168"/>
                    <a:pt x="72" y="169"/>
                  </a:cubicBezTo>
                  <a:cubicBezTo>
                    <a:pt x="73" y="169"/>
                    <a:pt x="74" y="170"/>
                    <a:pt x="74" y="170"/>
                  </a:cubicBezTo>
                  <a:cubicBezTo>
                    <a:pt x="76" y="171"/>
                    <a:pt x="78" y="172"/>
                    <a:pt x="81" y="172"/>
                  </a:cubicBezTo>
                  <a:cubicBezTo>
                    <a:pt x="81" y="172"/>
                    <a:pt x="82" y="172"/>
                    <a:pt x="82" y="172"/>
                  </a:cubicBezTo>
                  <a:cubicBezTo>
                    <a:pt x="86" y="172"/>
                    <a:pt x="90" y="171"/>
                    <a:pt x="93" y="170"/>
                  </a:cubicBezTo>
                  <a:cubicBezTo>
                    <a:pt x="96" y="169"/>
                    <a:pt x="98" y="168"/>
                    <a:pt x="101" y="167"/>
                  </a:cubicBezTo>
                  <a:cubicBezTo>
                    <a:pt x="101" y="167"/>
                    <a:pt x="102" y="167"/>
                    <a:pt x="102" y="167"/>
                  </a:cubicBezTo>
                  <a:cubicBezTo>
                    <a:pt x="104" y="167"/>
                    <a:pt x="106" y="168"/>
                    <a:pt x="108" y="168"/>
                  </a:cubicBezTo>
                  <a:cubicBezTo>
                    <a:pt x="110" y="169"/>
                    <a:pt x="113" y="169"/>
                    <a:pt x="115" y="169"/>
                  </a:cubicBezTo>
                  <a:cubicBezTo>
                    <a:pt x="117" y="169"/>
                    <a:pt x="118" y="169"/>
                    <a:pt x="120" y="169"/>
                  </a:cubicBezTo>
                  <a:cubicBezTo>
                    <a:pt x="123" y="168"/>
                    <a:pt x="126" y="165"/>
                    <a:pt x="129" y="161"/>
                  </a:cubicBezTo>
                  <a:cubicBezTo>
                    <a:pt x="130" y="160"/>
                    <a:pt x="131" y="159"/>
                    <a:pt x="131" y="158"/>
                  </a:cubicBezTo>
                  <a:cubicBezTo>
                    <a:pt x="132" y="156"/>
                    <a:pt x="133" y="154"/>
                    <a:pt x="134" y="154"/>
                  </a:cubicBezTo>
                  <a:cubicBezTo>
                    <a:pt x="134" y="153"/>
                    <a:pt x="134" y="153"/>
                    <a:pt x="134" y="153"/>
                  </a:cubicBezTo>
                  <a:cubicBezTo>
                    <a:pt x="134" y="153"/>
                    <a:pt x="135" y="154"/>
                    <a:pt x="135" y="154"/>
                  </a:cubicBezTo>
                  <a:cubicBezTo>
                    <a:pt x="135" y="155"/>
                    <a:pt x="135" y="156"/>
                    <a:pt x="134" y="158"/>
                  </a:cubicBezTo>
                  <a:cubicBezTo>
                    <a:pt x="133" y="159"/>
                    <a:pt x="133" y="160"/>
                    <a:pt x="132" y="162"/>
                  </a:cubicBezTo>
                  <a:cubicBezTo>
                    <a:pt x="132" y="164"/>
                    <a:pt x="132" y="165"/>
                    <a:pt x="133" y="167"/>
                  </a:cubicBezTo>
                  <a:cubicBezTo>
                    <a:pt x="135" y="169"/>
                    <a:pt x="138" y="169"/>
                    <a:pt x="140" y="169"/>
                  </a:cubicBezTo>
                  <a:cubicBezTo>
                    <a:pt x="141" y="169"/>
                    <a:pt x="143" y="169"/>
                    <a:pt x="144" y="169"/>
                  </a:cubicBezTo>
                  <a:cubicBezTo>
                    <a:pt x="144" y="170"/>
                    <a:pt x="145" y="171"/>
                    <a:pt x="145" y="173"/>
                  </a:cubicBezTo>
                  <a:cubicBezTo>
                    <a:pt x="145" y="173"/>
                    <a:pt x="145" y="174"/>
                    <a:pt x="145" y="174"/>
                  </a:cubicBezTo>
                  <a:cubicBezTo>
                    <a:pt x="146" y="177"/>
                    <a:pt x="146" y="180"/>
                    <a:pt x="148" y="182"/>
                  </a:cubicBezTo>
                  <a:cubicBezTo>
                    <a:pt x="151" y="184"/>
                    <a:pt x="154" y="184"/>
                    <a:pt x="157" y="184"/>
                  </a:cubicBezTo>
                  <a:cubicBezTo>
                    <a:pt x="157" y="184"/>
                    <a:pt x="158" y="184"/>
                    <a:pt x="159" y="184"/>
                  </a:cubicBezTo>
                  <a:cubicBezTo>
                    <a:pt x="162" y="185"/>
                    <a:pt x="164" y="186"/>
                    <a:pt x="167" y="188"/>
                  </a:cubicBezTo>
                  <a:cubicBezTo>
                    <a:pt x="171" y="190"/>
                    <a:pt x="174" y="191"/>
                    <a:pt x="177" y="191"/>
                  </a:cubicBezTo>
                  <a:cubicBezTo>
                    <a:pt x="179" y="191"/>
                    <a:pt x="182" y="191"/>
                    <a:pt x="184" y="189"/>
                  </a:cubicBezTo>
                  <a:cubicBezTo>
                    <a:pt x="185" y="189"/>
                    <a:pt x="185" y="189"/>
                    <a:pt x="185" y="189"/>
                  </a:cubicBezTo>
                  <a:cubicBezTo>
                    <a:pt x="189" y="187"/>
                    <a:pt x="194" y="185"/>
                    <a:pt x="195" y="179"/>
                  </a:cubicBezTo>
                  <a:cubicBezTo>
                    <a:pt x="195" y="178"/>
                    <a:pt x="195" y="177"/>
                    <a:pt x="195" y="176"/>
                  </a:cubicBezTo>
                  <a:cubicBezTo>
                    <a:pt x="195" y="175"/>
                    <a:pt x="195" y="174"/>
                    <a:pt x="195" y="173"/>
                  </a:cubicBezTo>
                  <a:cubicBezTo>
                    <a:pt x="195" y="173"/>
                    <a:pt x="195" y="172"/>
                    <a:pt x="195" y="172"/>
                  </a:cubicBezTo>
                  <a:cubicBezTo>
                    <a:pt x="196" y="170"/>
                    <a:pt x="196" y="167"/>
                    <a:pt x="195" y="165"/>
                  </a:cubicBezTo>
                  <a:cubicBezTo>
                    <a:pt x="194" y="163"/>
                    <a:pt x="192" y="162"/>
                    <a:pt x="189" y="161"/>
                  </a:cubicBezTo>
                  <a:cubicBezTo>
                    <a:pt x="190" y="160"/>
                    <a:pt x="191" y="158"/>
                    <a:pt x="191" y="156"/>
                  </a:cubicBezTo>
                  <a:cubicBezTo>
                    <a:pt x="191" y="156"/>
                    <a:pt x="191" y="155"/>
                    <a:pt x="191" y="154"/>
                  </a:cubicBezTo>
                  <a:cubicBezTo>
                    <a:pt x="192" y="154"/>
                    <a:pt x="192" y="155"/>
                    <a:pt x="192" y="155"/>
                  </a:cubicBezTo>
                  <a:cubicBezTo>
                    <a:pt x="193" y="156"/>
                    <a:pt x="194" y="157"/>
                    <a:pt x="196" y="158"/>
                  </a:cubicBezTo>
                  <a:cubicBezTo>
                    <a:pt x="197" y="158"/>
                    <a:pt x="197" y="158"/>
                    <a:pt x="198" y="158"/>
                  </a:cubicBezTo>
                  <a:cubicBezTo>
                    <a:pt x="200" y="158"/>
                    <a:pt x="201" y="158"/>
                    <a:pt x="201" y="157"/>
                  </a:cubicBezTo>
                  <a:cubicBezTo>
                    <a:pt x="201" y="157"/>
                    <a:pt x="202" y="157"/>
                    <a:pt x="202" y="157"/>
                  </a:cubicBezTo>
                  <a:cubicBezTo>
                    <a:pt x="202" y="157"/>
                    <a:pt x="202" y="158"/>
                    <a:pt x="202" y="158"/>
                  </a:cubicBezTo>
                  <a:cubicBezTo>
                    <a:pt x="203" y="159"/>
                    <a:pt x="204" y="161"/>
                    <a:pt x="207" y="161"/>
                  </a:cubicBezTo>
                  <a:cubicBezTo>
                    <a:pt x="207" y="161"/>
                    <a:pt x="208" y="161"/>
                    <a:pt x="208" y="161"/>
                  </a:cubicBezTo>
                  <a:cubicBezTo>
                    <a:pt x="211" y="160"/>
                    <a:pt x="213" y="158"/>
                    <a:pt x="214" y="154"/>
                  </a:cubicBezTo>
                  <a:cubicBezTo>
                    <a:pt x="215" y="150"/>
                    <a:pt x="215" y="145"/>
                    <a:pt x="212" y="142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17055388" y="3977047"/>
              <a:ext cx="180554" cy="188524"/>
            </a:xfrm>
            <a:custGeom>
              <a:avLst/>
              <a:gdLst>
                <a:gd name="T0" fmla="*/ 18 w 33"/>
                <a:gd name="T1" fmla="*/ 1 h 38"/>
                <a:gd name="T2" fmla="*/ 11 w 33"/>
                <a:gd name="T3" fmla="*/ 0 h 38"/>
                <a:gd name="T4" fmla="*/ 5 w 33"/>
                <a:gd name="T5" fmla="*/ 1 h 38"/>
                <a:gd name="T6" fmla="*/ 1 w 33"/>
                <a:gd name="T7" fmla="*/ 12 h 38"/>
                <a:gd name="T8" fmla="*/ 3 w 33"/>
                <a:gd name="T9" fmla="*/ 16 h 38"/>
                <a:gd name="T10" fmla="*/ 4 w 33"/>
                <a:gd name="T11" fmla="*/ 17 h 38"/>
                <a:gd name="T12" fmla="*/ 5 w 33"/>
                <a:gd name="T13" fmla="*/ 18 h 38"/>
                <a:gd name="T14" fmla="*/ 9 w 33"/>
                <a:gd name="T15" fmla="*/ 26 h 38"/>
                <a:gd name="T16" fmla="*/ 18 w 33"/>
                <a:gd name="T17" fmla="*/ 38 h 38"/>
                <a:gd name="T18" fmla="*/ 24 w 33"/>
                <a:gd name="T19" fmla="*/ 35 h 38"/>
                <a:gd name="T20" fmla="*/ 32 w 33"/>
                <a:gd name="T21" fmla="*/ 15 h 38"/>
                <a:gd name="T22" fmla="*/ 18 w 33"/>
                <a:gd name="T23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38">
                  <a:moveTo>
                    <a:pt x="18" y="1"/>
                  </a:moveTo>
                  <a:cubicBezTo>
                    <a:pt x="15" y="1"/>
                    <a:pt x="13" y="0"/>
                    <a:pt x="11" y="0"/>
                  </a:cubicBezTo>
                  <a:cubicBezTo>
                    <a:pt x="9" y="0"/>
                    <a:pt x="7" y="1"/>
                    <a:pt x="5" y="1"/>
                  </a:cubicBezTo>
                  <a:cubicBezTo>
                    <a:pt x="2" y="3"/>
                    <a:pt x="0" y="7"/>
                    <a:pt x="1" y="12"/>
                  </a:cubicBezTo>
                  <a:cubicBezTo>
                    <a:pt x="2" y="13"/>
                    <a:pt x="3" y="15"/>
                    <a:pt x="3" y="16"/>
                  </a:cubicBezTo>
                  <a:cubicBezTo>
                    <a:pt x="3" y="16"/>
                    <a:pt x="4" y="16"/>
                    <a:pt x="4" y="17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6" y="21"/>
                    <a:pt x="8" y="23"/>
                    <a:pt x="9" y="26"/>
                  </a:cubicBezTo>
                  <a:cubicBezTo>
                    <a:pt x="10" y="30"/>
                    <a:pt x="12" y="38"/>
                    <a:pt x="18" y="38"/>
                  </a:cubicBezTo>
                  <a:cubicBezTo>
                    <a:pt x="20" y="38"/>
                    <a:pt x="22" y="37"/>
                    <a:pt x="24" y="35"/>
                  </a:cubicBezTo>
                  <a:cubicBezTo>
                    <a:pt x="27" y="31"/>
                    <a:pt x="33" y="22"/>
                    <a:pt x="32" y="15"/>
                  </a:cubicBezTo>
                  <a:cubicBezTo>
                    <a:pt x="31" y="8"/>
                    <a:pt x="24" y="3"/>
                    <a:pt x="18" y="1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3" name="Freeform 22"/>
            <p:cNvSpPr>
              <a:spLocks/>
            </p:cNvSpPr>
            <p:nvPr/>
          </p:nvSpPr>
          <p:spPr bwMode="auto">
            <a:xfrm>
              <a:off x="16995888" y="3967714"/>
              <a:ext cx="43087" cy="59730"/>
            </a:xfrm>
            <a:custGeom>
              <a:avLst/>
              <a:gdLst>
                <a:gd name="T0" fmla="*/ 5 w 8"/>
                <a:gd name="T1" fmla="*/ 3 h 12"/>
                <a:gd name="T2" fmla="*/ 5 w 8"/>
                <a:gd name="T3" fmla="*/ 3 h 12"/>
                <a:gd name="T4" fmla="*/ 5 w 8"/>
                <a:gd name="T5" fmla="*/ 0 h 12"/>
                <a:gd name="T6" fmla="*/ 0 w 8"/>
                <a:gd name="T7" fmla="*/ 6 h 12"/>
                <a:gd name="T8" fmla="*/ 3 w 8"/>
                <a:gd name="T9" fmla="*/ 6 h 12"/>
                <a:gd name="T10" fmla="*/ 3 w 8"/>
                <a:gd name="T11" fmla="*/ 6 h 12"/>
                <a:gd name="T12" fmla="*/ 0 w 8"/>
                <a:gd name="T13" fmla="*/ 6 h 12"/>
                <a:gd name="T14" fmla="*/ 1 w 8"/>
                <a:gd name="T15" fmla="*/ 10 h 12"/>
                <a:gd name="T16" fmla="*/ 5 w 8"/>
                <a:gd name="T17" fmla="*/ 12 h 12"/>
                <a:gd name="T18" fmla="*/ 5 w 8"/>
                <a:gd name="T19" fmla="*/ 9 h 12"/>
                <a:gd name="T20" fmla="*/ 7 w 8"/>
                <a:gd name="T21" fmla="*/ 8 h 12"/>
                <a:gd name="T22" fmla="*/ 5 w 8"/>
                <a:gd name="T2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12">
                  <a:moveTo>
                    <a:pt x="5" y="3"/>
                  </a:moveTo>
                  <a:cubicBezTo>
                    <a:pt x="5" y="3"/>
                    <a:pt x="5" y="3"/>
                    <a:pt x="5" y="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8"/>
                    <a:pt x="1" y="10"/>
                  </a:cubicBezTo>
                  <a:cubicBezTo>
                    <a:pt x="2" y="11"/>
                    <a:pt x="3" y="12"/>
                    <a:pt x="5" y="12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6" y="9"/>
                    <a:pt x="6" y="9"/>
                    <a:pt x="7" y="8"/>
                  </a:cubicBezTo>
                  <a:cubicBezTo>
                    <a:pt x="8" y="6"/>
                    <a:pt x="8" y="4"/>
                    <a:pt x="5" y="3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17256460" y="4940197"/>
              <a:ext cx="82070" cy="87729"/>
            </a:xfrm>
            <a:custGeom>
              <a:avLst/>
              <a:gdLst>
                <a:gd name="T0" fmla="*/ 9 w 15"/>
                <a:gd name="T1" fmla="*/ 0 h 18"/>
                <a:gd name="T2" fmla="*/ 5 w 15"/>
                <a:gd name="T3" fmla="*/ 1 h 18"/>
                <a:gd name="T4" fmla="*/ 0 w 15"/>
                <a:gd name="T5" fmla="*/ 11 h 18"/>
                <a:gd name="T6" fmla="*/ 3 w 15"/>
                <a:gd name="T7" fmla="*/ 17 h 18"/>
                <a:gd name="T8" fmla="*/ 6 w 15"/>
                <a:gd name="T9" fmla="*/ 18 h 18"/>
                <a:gd name="T10" fmla="*/ 12 w 15"/>
                <a:gd name="T11" fmla="*/ 13 h 18"/>
                <a:gd name="T12" fmla="*/ 12 w 15"/>
                <a:gd name="T13" fmla="*/ 12 h 18"/>
                <a:gd name="T14" fmla="*/ 13 w 15"/>
                <a:gd name="T15" fmla="*/ 3 h 18"/>
                <a:gd name="T16" fmla="*/ 9 w 15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8">
                  <a:moveTo>
                    <a:pt x="9" y="0"/>
                  </a:moveTo>
                  <a:cubicBezTo>
                    <a:pt x="8" y="0"/>
                    <a:pt x="7" y="1"/>
                    <a:pt x="5" y="1"/>
                  </a:cubicBezTo>
                  <a:cubicBezTo>
                    <a:pt x="2" y="3"/>
                    <a:pt x="0" y="8"/>
                    <a:pt x="0" y="11"/>
                  </a:cubicBezTo>
                  <a:cubicBezTo>
                    <a:pt x="0" y="15"/>
                    <a:pt x="2" y="16"/>
                    <a:pt x="3" y="17"/>
                  </a:cubicBezTo>
                  <a:cubicBezTo>
                    <a:pt x="4" y="17"/>
                    <a:pt x="5" y="18"/>
                    <a:pt x="6" y="18"/>
                  </a:cubicBezTo>
                  <a:cubicBezTo>
                    <a:pt x="9" y="18"/>
                    <a:pt x="11" y="14"/>
                    <a:pt x="12" y="13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4" y="9"/>
                    <a:pt x="15" y="6"/>
                    <a:pt x="13" y="3"/>
                  </a:cubicBezTo>
                  <a:cubicBezTo>
                    <a:pt x="12" y="1"/>
                    <a:pt x="11" y="0"/>
                    <a:pt x="9" y="0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17301598" y="4617280"/>
              <a:ext cx="98484" cy="83996"/>
            </a:xfrm>
            <a:custGeom>
              <a:avLst/>
              <a:gdLst>
                <a:gd name="T0" fmla="*/ 10 w 18"/>
                <a:gd name="T1" fmla="*/ 1 h 17"/>
                <a:gd name="T2" fmla="*/ 7 w 18"/>
                <a:gd name="T3" fmla="*/ 0 h 17"/>
                <a:gd name="T4" fmla="*/ 3 w 18"/>
                <a:gd name="T5" fmla="*/ 2 h 17"/>
                <a:gd name="T6" fmla="*/ 5 w 18"/>
                <a:gd name="T7" fmla="*/ 12 h 17"/>
                <a:gd name="T8" fmla="*/ 5 w 18"/>
                <a:gd name="T9" fmla="*/ 13 h 17"/>
                <a:gd name="T10" fmla="*/ 11 w 18"/>
                <a:gd name="T11" fmla="*/ 17 h 17"/>
                <a:gd name="T12" fmla="*/ 11 w 18"/>
                <a:gd name="T13" fmla="*/ 17 h 17"/>
                <a:gd name="T14" fmla="*/ 16 w 18"/>
                <a:gd name="T15" fmla="*/ 13 h 17"/>
                <a:gd name="T16" fmla="*/ 10 w 18"/>
                <a:gd name="T17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17">
                  <a:moveTo>
                    <a:pt x="10" y="1"/>
                  </a:moveTo>
                  <a:cubicBezTo>
                    <a:pt x="9" y="0"/>
                    <a:pt x="8" y="0"/>
                    <a:pt x="7" y="0"/>
                  </a:cubicBezTo>
                  <a:cubicBezTo>
                    <a:pt x="5" y="0"/>
                    <a:pt x="4" y="1"/>
                    <a:pt x="3" y="2"/>
                  </a:cubicBezTo>
                  <a:cubicBezTo>
                    <a:pt x="0" y="6"/>
                    <a:pt x="3" y="10"/>
                    <a:pt x="5" y="12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6" y="14"/>
                    <a:pt x="8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2" y="17"/>
                    <a:pt x="15" y="16"/>
                    <a:pt x="16" y="13"/>
                  </a:cubicBezTo>
                  <a:cubicBezTo>
                    <a:pt x="18" y="8"/>
                    <a:pt x="15" y="2"/>
                    <a:pt x="10" y="1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16919973" y="4958863"/>
              <a:ext cx="75915" cy="74663"/>
            </a:xfrm>
            <a:custGeom>
              <a:avLst/>
              <a:gdLst>
                <a:gd name="T0" fmla="*/ 6 w 14"/>
                <a:gd name="T1" fmla="*/ 0 h 15"/>
                <a:gd name="T2" fmla="*/ 0 w 14"/>
                <a:gd name="T3" fmla="*/ 5 h 15"/>
                <a:gd name="T4" fmla="*/ 3 w 14"/>
                <a:gd name="T5" fmla="*/ 11 h 15"/>
                <a:gd name="T6" fmla="*/ 3 w 14"/>
                <a:gd name="T7" fmla="*/ 11 h 15"/>
                <a:gd name="T8" fmla="*/ 8 w 14"/>
                <a:gd name="T9" fmla="*/ 15 h 15"/>
                <a:gd name="T10" fmla="*/ 8 w 14"/>
                <a:gd name="T11" fmla="*/ 15 h 15"/>
                <a:gd name="T12" fmla="*/ 13 w 14"/>
                <a:gd name="T13" fmla="*/ 13 h 15"/>
                <a:gd name="T14" fmla="*/ 13 w 14"/>
                <a:gd name="T15" fmla="*/ 5 h 15"/>
                <a:gd name="T16" fmla="*/ 6 w 14"/>
                <a:gd name="T1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15">
                  <a:moveTo>
                    <a:pt x="6" y="0"/>
                  </a:moveTo>
                  <a:cubicBezTo>
                    <a:pt x="3" y="0"/>
                    <a:pt x="1" y="2"/>
                    <a:pt x="0" y="5"/>
                  </a:cubicBezTo>
                  <a:cubicBezTo>
                    <a:pt x="0" y="7"/>
                    <a:pt x="0" y="9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4" y="15"/>
                    <a:pt x="7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5"/>
                    <a:pt x="11" y="14"/>
                    <a:pt x="13" y="13"/>
                  </a:cubicBezTo>
                  <a:cubicBezTo>
                    <a:pt x="14" y="10"/>
                    <a:pt x="14" y="7"/>
                    <a:pt x="13" y="5"/>
                  </a:cubicBezTo>
                  <a:cubicBezTo>
                    <a:pt x="12" y="2"/>
                    <a:pt x="9" y="0"/>
                    <a:pt x="6" y="0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17131303" y="4973795"/>
              <a:ext cx="77966" cy="65330"/>
            </a:xfrm>
            <a:custGeom>
              <a:avLst/>
              <a:gdLst>
                <a:gd name="T0" fmla="*/ 8 w 14"/>
                <a:gd name="T1" fmla="*/ 0 h 13"/>
                <a:gd name="T2" fmla="*/ 1 w 14"/>
                <a:gd name="T3" fmla="*/ 4 h 13"/>
                <a:gd name="T4" fmla="*/ 0 w 14"/>
                <a:gd name="T5" fmla="*/ 9 h 13"/>
                <a:gd name="T6" fmla="*/ 3 w 14"/>
                <a:gd name="T7" fmla="*/ 13 h 13"/>
                <a:gd name="T8" fmla="*/ 6 w 14"/>
                <a:gd name="T9" fmla="*/ 13 h 13"/>
                <a:gd name="T10" fmla="*/ 13 w 14"/>
                <a:gd name="T11" fmla="*/ 10 h 13"/>
                <a:gd name="T12" fmla="*/ 13 w 14"/>
                <a:gd name="T13" fmla="*/ 3 h 13"/>
                <a:gd name="T14" fmla="*/ 8 w 14"/>
                <a:gd name="T1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3">
                  <a:moveTo>
                    <a:pt x="8" y="0"/>
                  </a:moveTo>
                  <a:cubicBezTo>
                    <a:pt x="5" y="0"/>
                    <a:pt x="2" y="1"/>
                    <a:pt x="1" y="4"/>
                  </a:cubicBezTo>
                  <a:cubicBezTo>
                    <a:pt x="0" y="6"/>
                    <a:pt x="0" y="8"/>
                    <a:pt x="0" y="9"/>
                  </a:cubicBezTo>
                  <a:cubicBezTo>
                    <a:pt x="1" y="10"/>
                    <a:pt x="1" y="12"/>
                    <a:pt x="3" y="13"/>
                  </a:cubicBezTo>
                  <a:cubicBezTo>
                    <a:pt x="4" y="13"/>
                    <a:pt x="5" y="13"/>
                    <a:pt x="6" y="13"/>
                  </a:cubicBezTo>
                  <a:cubicBezTo>
                    <a:pt x="8" y="13"/>
                    <a:pt x="11" y="12"/>
                    <a:pt x="13" y="10"/>
                  </a:cubicBezTo>
                  <a:cubicBezTo>
                    <a:pt x="14" y="8"/>
                    <a:pt x="14" y="5"/>
                    <a:pt x="13" y="3"/>
                  </a:cubicBezTo>
                  <a:cubicBezTo>
                    <a:pt x="13" y="1"/>
                    <a:pt x="10" y="0"/>
                    <a:pt x="8" y="0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8" name="Freeform 27"/>
            <p:cNvSpPr>
              <a:spLocks noEditPoints="1"/>
            </p:cNvSpPr>
            <p:nvPr/>
          </p:nvSpPr>
          <p:spPr bwMode="auto">
            <a:xfrm>
              <a:off x="15736114" y="4001312"/>
              <a:ext cx="4704661" cy="2713993"/>
            </a:xfrm>
            <a:custGeom>
              <a:avLst/>
              <a:gdLst>
                <a:gd name="T0" fmla="*/ 834 w 863"/>
                <a:gd name="T1" fmla="*/ 311 h 547"/>
                <a:gd name="T2" fmla="*/ 792 w 863"/>
                <a:gd name="T3" fmla="*/ 284 h 547"/>
                <a:gd name="T4" fmla="*/ 774 w 863"/>
                <a:gd name="T5" fmla="*/ 241 h 547"/>
                <a:gd name="T6" fmla="*/ 848 w 863"/>
                <a:gd name="T7" fmla="*/ 263 h 547"/>
                <a:gd name="T8" fmla="*/ 847 w 863"/>
                <a:gd name="T9" fmla="*/ 195 h 547"/>
                <a:gd name="T10" fmla="*/ 790 w 863"/>
                <a:gd name="T11" fmla="*/ 178 h 547"/>
                <a:gd name="T12" fmla="*/ 735 w 863"/>
                <a:gd name="T13" fmla="*/ 169 h 547"/>
                <a:gd name="T14" fmla="*/ 725 w 863"/>
                <a:gd name="T15" fmla="*/ 129 h 547"/>
                <a:gd name="T16" fmla="*/ 689 w 863"/>
                <a:gd name="T17" fmla="*/ 93 h 547"/>
                <a:gd name="T18" fmla="*/ 665 w 863"/>
                <a:gd name="T19" fmla="*/ 87 h 547"/>
                <a:gd name="T20" fmla="*/ 614 w 863"/>
                <a:gd name="T21" fmla="*/ 63 h 547"/>
                <a:gd name="T22" fmla="*/ 550 w 863"/>
                <a:gd name="T23" fmla="*/ 63 h 547"/>
                <a:gd name="T24" fmla="*/ 523 w 863"/>
                <a:gd name="T25" fmla="*/ 14 h 547"/>
                <a:gd name="T26" fmla="*/ 480 w 863"/>
                <a:gd name="T27" fmla="*/ 95 h 547"/>
                <a:gd name="T28" fmla="*/ 467 w 863"/>
                <a:gd name="T29" fmla="*/ 13 h 547"/>
                <a:gd name="T30" fmla="*/ 446 w 863"/>
                <a:gd name="T31" fmla="*/ 151 h 547"/>
                <a:gd name="T32" fmla="*/ 494 w 863"/>
                <a:gd name="T33" fmla="*/ 169 h 547"/>
                <a:gd name="T34" fmla="*/ 483 w 863"/>
                <a:gd name="T35" fmla="*/ 244 h 547"/>
                <a:gd name="T36" fmla="*/ 462 w 863"/>
                <a:gd name="T37" fmla="*/ 226 h 547"/>
                <a:gd name="T38" fmla="*/ 428 w 863"/>
                <a:gd name="T39" fmla="*/ 227 h 547"/>
                <a:gd name="T40" fmla="*/ 397 w 863"/>
                <a:gd name="T41" fmla="*/ 176 h 547"/>
                <a:gd name="T42" fmla="*/ 394 w 863"/>
                <a:gd name="T43" fmla="*/ 112 h 547"/>
                <a:gd name="T44" fmla="*/ 424 w 863"/>
                <a:gd name="T45" fmla="*/ 35 h 547"/>
                <a:gd name="T46" fmla="*/ 364 w 863"/>
                <a:gd name="T47" fmla="*/ 58 h 547"/>
                <a:gd name="T48" fmla="*/ 346 w 863"/>
                <a:gd name="T49" fmla="*/ 121 h 547"/>
                <a:gd name="T50" fmla="*/ 368 w 863"/>
                <a:gd name="T51" fmla="*/ 186 h 547"/>
                <a:gd name="T52" fmla="*/ 376 w 863"/>
                <a:gd name="T53" fmla="*/ 219 h 547"/>
                <a:gd name="T54" fmla="*/ 348 w 863"/>
                <a:gd name="T55" fmla="*/ 269 h 547"/>
                <a:gd name="T56" fmla="*/ 338 w 863"/>
                <a:gd name="T57" fmla="*/ 226 h 547"/>
                <a:gd name="T58" fmla="*/ 315 w 863"/>
                <a:gd name="T59" fmla="*/ 242 h 547"/>
                <a:gd name="T60" fmla="*/ 293 w 863"/>
                <a:gd name="T61" fmla="*/ 239 h 547"/>
                <a:gd name="T62" fmla="*/ 246 w 863"/>
                <a:gd name="T63" fmla="*/ 229 h 547"/>
                <a:gd name="T64" fmla="*/ 205 w 863"/>
                <a:gd name="T65" fmla="*/ 179 h 547"/>
                <a:gd name="T66" fmla="*/ 188 w 863"/>
                <a:gd name="T67" fmla="*/ 204 h 547"/>
                <a:gd name="T68" fmla="*/ 162 w 863"/>
                <a:gd name="T69" fmla="*/ 247 h 547"/>
                <a:gd name="T70" fmla="*/ 132 w 863"/>
                <a:gd name="T71" fmla="*/ 198 h 547"/>
                <a:gd name="T72" fmla="*/ 81 w 863"/>
                <a:gd name="T73" fmla="*/ 180 h 547"/>
                <a:gd name="T74" fmla="*/ 71 w 863"/>
                <a:gd name="T75" fmla="*/ 129 h 547"/>
                <a:gd name="T76" fmla="*/ 339 w 863"/>
                <a:gd name="T77" fmla="*/ 547 h 547"/>
                <a:gd name="T78" fmla="*/ 370 w 863"/>
                <a:gd name="T79" fmla="*/ 480 h 547"/>
                <a:gd name="T80" fmla="*/ 403 w 863"/>
                <a:gd name="T81" fmla="*/ 448 h 547"/>
                <a:gd name="T82" fmla="*/ 466 w 863"/>
                <a:gd name="T83" fmla="*/ 385 h 547"/>
                <a:gd name="T84" fmla="*/ 489 w 863"/>
                <a:gd name="T85" fmla="*/ 308 h 547"/>
                <a:gd name="T86" fmla="*/ 526 w 863"/>
                <a:gd name="T87" fmla="*/ 303 h 547"/>
                <a:gd name="T88" fmla="*/ 552 w 863"/>
                <a:gd name="T89" fmla="*/ 244 h 547"/>
                <a:gd name="T90" fmla="*/ 538 w 863"/>
                <a:gd name="T91" fmla="*/ 185 h 547"/>
                <a:gd name="T92" fmla="*/ 531 w 863"/>
                <a:gd name="T93" fmla="*/ 170 h 547"/>
                <a:gd name="T94" fmla="*/ 595 w 863"/>
                <a:gd name="T95" fmla="*/ 161 h 547"/>
                <a:gd name="T96" fmla="*/ 613 w 863"/>
                <a:gd name="T97" fmla="*/ 200 h 547"/>
                <a:gd name="T98" fmla="*/ 671 w 863"/>
                <a:gd name="T99" fmla="*/ 215 h 547"/>
                <a:gd name="T100" fmla="*/ 675 w 863"/>
                <a:gd name="T101" fmla="*/ 310 h 547"/>
                <a:gd name="T102" fmla="*/ 621 w 863"/>
                <a:gd name="T103" fmla="*/ 342 h 547"/>
                <a:gd name="T104" fmla="*/ 685 w 863"/>
                <a:gd name="T105" fmla="*/ 353 h 547"/>
                <a:gd name="T106" fmla="*/ 728 w 863"/>
                <a:gd name="T107" fmla="*/ 369 h 547"/>
                <a:gd name="T108" fmla="*/ 776 w 863"/>
                <a:gd name="T109" fmla="*/ 396 h 547"/>
                <a:gd name="T110" fmla="*/ 837 w 863"/>
                <a:gd name="T111" fmla="*/ 378 h 547"/>
                <a:gd name="T112" fmla="*/ 825 w 863"/>
                <a:gd name="T113" fmla="*/ 361 h 547"/>
                <a:gd name="T114" fmla="*/ 493 w 863"/>
                <a:gd name="T115" fmla="*/ 121 h 547"/>
                <a:gd name="T116" fmla="*/ 457 w 863"/>
                <a:gd name="T117" fmla="*/ 345 h 547"/>
                <a:gd name="T118" fmla="*/ 573 w 863"/>
                <a:gd name="T119" fmla="*/ 140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63" h="547">
                  <a:moveTo>
                    <a:pt x="862" y="359"/>
                  </a:moveTo>
                  <a:cubicBezTo>
                    <a:pt x="863" y="356"/>
                    <a:pt x="863" y="352"/>
                    <a:pt x="862" y="349"/>
                  </a:cubicBezTo>
                  <a:cubicBezTo>
                    <a:pt x="860" y="347"/>
                    <a:pt x="859" y="344"/>
                    <a:pt x="856" y="342"/>
                  </a:cubicBezTo>
                  <a:cubicBezTo>
                    <a:pt x="856" y="342"/>
                    <a:pt x="855" y="342"/>
                    <a:pt x="855" y="341"/>
                  </a:cubicBezTo>
                  <a:cubicBezTo>
                    <a:pt x="855" y="341"/>
                    <a:pt x="854" y="341"/>
                    <a:pt x="854" y="340"/>
                  </a:cubicBezTo>
                  <a:cubicBezTo>
                    <a:pt x="854" y="340"/>
                    <a:pt x="855" y="339"/>
                    <a:pt x="856" y="339"/>
                  </a:cubicBezTo>
                  <a:cubicBezTo>
                    <a:pt x="858" y="335"/>
                    <a:pt x="858" y="330"/>
                    <a:pt x="854" y="326"/>
                  </a:cubicBezTo>
                  <a:cubicBezTo>
                    <a:pt x="853" y="324"/>
                    <a:pt x="851" y="324"/>
                    <a:pt x="849" y="323"/>
                  </a:cubicBezTo>
                  <a:cubicBezTo>
                    <a:pt x="848" y="323"/>
                    <a:pt x="847" y="323"/>
                    <a:pt x="847" y="323"/>
                  </a:cubicBezTo>
                  <a:cubicBezTo>
                    <a:pt x="847" y="322"/>
                    <a:pt x="847" y="322"/>
                    <a:pt x="847" y="321"/>
                  </a:cubicBezTo>
                  <a:cubicBezTo>
                    <a:pt x="847" y="320"/>
                    <a:pt x="847" y="318"/>
                    <a:pt x="846" y="316"/>
                  </a:cubicBezTo>
                  <a:cubicBezTo>
                    <a:pt x="845" y="315"/>
                    <a:pt x="842" y="315"/>
                    <a:pt x="841" y="315"/>
                  </a:cubicBezTo>
                  <a:cubicBezTo>
                    <a:pt x="841" y="315"/>
                    <a:pt x="841" y="315"/>
                    <a:pt x="841" y="315"/>
                  </a:cubicBezTo>
                  <a:cubicBezTo>
                    <a:pt x="840" y="315"/>
                    <a:pt x="839" y="315"/>
                    <a:pt x="839" y="315"/>
                  </a:cubicBezTo>
                  <a:cubicBezTo>
                    <a:pt x="838" y="315"/>
                    <a:pt x="838" y="315"/>
                    <a:pt x="838" y="315"/>
                  </a:cubicBezTo>
                  <a:cubicBezTo>
                    <a:pt x="838" y="315"/>
                    <a:pt x="838" y="315"/>
                    <a:pt x="838" y="315"/>
                  </a:cubicBezTo>
                  <a:cubicBezTo>
                    <a:pt x="837" y="315"/>
                    <a:pt x="837" y="314"/>
                    <a:pt x="837" y="313"/>
                  </a:cubicBezTo>
                  <a:cubicBezTo>
                    <a:pt x="836" y="313"/>
                    <a:pt x="835" y="312"/>
                    <a:pt x="834" y="311"/>
                  </a:cubicBezTo>
                  <a:cubicBezTo>
                    <a:pt x="834" y="310"/>
                    <a:pt x="833" y="310"/>
                    <a:pt x="833" y="310"/>
                  </a:cubicBezTo>
                  <a:cubicBezTo>
                    <a:pt x="833" y="310"/>
                    <a:pt x="833" y="310"/>
                    <a:pt x="833" y="310"/>
                  </a:cubicBezTo>
                  <a:cubicBezTo>
                    <a:pt x="833" y="309"/>
                    <a:pt x="834" y="307"/>
                    <a:pt x="834" y="306"/>
                  </a:cubicBezTo>
                  <a:cubicBezTo>
                    <a:pt x="836" y="303"/>
                    <a:pt x="836" y="303"/>
                    <a:pt x="836" y="303"/>
                  </a:cubicBezTo>
                  <a:cubicBezTo>
                    <a:pt x="833" y="302"/>
                    <a:pt x="833" y="302"/>
                    <a:pt x="833" y="302"/>
                  </a:cubicBezTo>
                  <a:cubicBezTo>
                    <a:pt x="831" y="301"/>
                    <a:pt x="830" y="301"/>
                    <a:pt x="829" y="301"/>
                  </a:cubicBezTo>
                  <a:cubicBezTo>
                    <a:pt x="828" y="301"/>
                    <a:pt x="826" y="301"/>
                    <a:pt x="826" y="301"/>
                  </a:cubicBezTo>
                  <a:cubicBezTo>
                    <a:pt x="825" y="301"/>
                    <a:pt x="824" y="301"/>
                    <a:pt x="824" y="301"/>
                  </a:cubicBezTo>
                  <a:cubicBezTo>
                    <a:pt x="824" y="300"/>
                    <a:pt x="824" y="299"/>
                    <a:pt x="824" y="299"/>
                  </a:cubicBezTo>
                  <a:cubicBezTo>
                    <a:pt x="824" y="297"/>
                    <a:pt x="823" y="292"/>
                    <a:pt x="817" y="292"/>
                  </a:cubicBezTo>
                  <a:cubicBezTo>
                    <a:pt x="815" y="292"/>
                    <a:pt x="813" y="293"/>
                    <a:pt x="812" y="294"/>
                  </a:cubicBezTo>
                  <a:cubicBezTo>
                    <a:pt x="811" y="294"/>
                    <a:pt x="810" y="295"/>
                    <a:pt x="810" y="295"/>
                  </a:cubicBezTo>
                  <a:cubicBezTo>
                    <a:pt x="810" y="295"/>
                    <a:pt x="809" y="294"/>
                    <a:pt x="808" y="293"/>
                  </a:cubicBezTo>
                  <a:cubicBezTo>
                    <a:pt x="807" y="292"/>
                    <a:pt x="807" y="291"/>
                    <a:pt x="806" y="290"/>
                  </a:cubicBezTo>
                  <a:cubicBezTo>
                    <a:pt x="804" y="289"/>
                    <a:pt x="801" y="289"/>
                    <a:pt x="800" y="289"/>
                  </a:cubicBezTo>
                  <a:cubicBezTo>
                    <a:pt x="798" y="289"/>
                    <a:pt x="798" y="289"/>
                    <a:pt x="798" y="289"/>
                  </a:cubicBezTo>
                  <a:cubicBezTo>
                    <a:pt x="797" y="289"/>
                    <a:pt x="796" y="289"/>
                    <a:pt x="796" y="289"/>
                  </a:cubicBezTo>
                  <a:cubicBezTo>
                    <a:pt x="794" y="288"/>
                    <a:pt x="793" y="287"/>
                    <a:pt x="792" y="284"/>
                  </a:cubicBezTo>
                  <a:cubicBezTo>
                    <a:pt x="791" y="281"/>
                    <a:pt x="790" y="278"/>
                    <a:pt x="787" y="276"/>
                  </a:cubicBezTo>
                  <a:cubicBezTo>
                    <a:pt x="786" y="276"/>
                    <a:pt x="786" y="276"/>
                    <a:pt x="785" y="276"/>
                  </a:cubicBezTo>
                  <a:cubicBezTo>
                    <a:pt x="785" y="275"/>
                    <a:pt x="785" y="274"/>
                    <a:pt x="785" y="274"/>
                  </a:cubicBezTo>
                  <a:cubicBezTo>
                    <a:pt x="784" y="273"/>
                    <a:pt x="783" y="270"/>
                    <a:pt x="779" y="270"/>
                  </a:cubicBezTo>
                  <a:cubicBezTo>
                    <a:pt x="779" y="270"/>
                    <a:pt x="778" y="270"/>
                    <a:pt x="777" y="270"/>
                  </a:cubicBezTo>
                  <a:cubicBezTo>
                    <a:pt x="776" y="271"/>
                    <a:pt x="775" y="271"/>
                    <a:pt x="775" y="272"/>
                  </a:cubicBezTo>
                  <a:cubicBezTo>
                    <a:pt x="775" y="272"/>
                    <a:pt x="775" y="272"/>
                    <a:pt x="775" y="271"/>
                  </a:cubicBezTo>
                  <a:cubicBezTo>
                    <a:pt x="774" y="270"/>
                    <a:pt x="772" y="270"/>
                    <a:pt x="771" y="268"/>
                  </a:cubicBezTo>
                  <a:cubicBezTo>
                    <a:pt x="771" y="268"/>
                    <a:pt x="771" y="268"/>
                    <a:pt x="770" y="268"/>
                  </a:cubicBezTo>
                  <a:cubicBezTo>
                    <a:pt x="771" y="268"/>
                    <a:pt x="772" y="268"/>
                    <a:pt x="772" y="268"/>
                  </a:cubicBezTo>
                  <a:cubicBezTo>
                    <a:pt x="773" y="268"/>
                    <a:pt x="774" y="268"/>
                    <a:pt x="775" y="268"/>
                  </a:cubicBezTo>
                  <a:cubicBezTo>
                    <a:pt x="777" y="267"/>
                    <a:pt x="779" y="266"/>
                    <a:pt x="780" y="263"/>
                  </a:cubicBezTo>
                  <a:cubicBezTo>
                    <a:pt x="781" y="261"/>
                    <a:pt x="780" y="258"/>
                    <a:pt x="779" y="256"/>
                  </a:cubicBezTo>
                  <a:cubicBezTo>
                    <a:pt x="777" y="253"/>
                    <a:pt x="774" y="252"/>
                    <a:pt x="771" y="251"/>
                  </a:cubicBezTo>
                  <a:cubicBezTo>
                    <a:pt x="768" y="250"/>
                    <a:pt x="766" y="249"/>
                    <a:pt x="765" y="247"/>
                  </a:cubicBezTo>
                  <a:cubicBezTo>
                    <a:pt x="765" y="246"/>
                    <a:pt x="765" y="246"/>
                    <a:pt x="765" y="246"/>
                  </a:cubicBezTo>
                  <a:cubicBezTo>
                    <a:pt x="765" y="244"/>
                    <a:pt x="768" y="243"/>
                    <a:pt x="770" y="243"/>
                  </a:cubicBezTo>
                  <a:cubicBezTo>
                    <a:pt x="772" y="242"/>
                    <a:pt x="773" y="242"/>
                    <a:pt x="774" y="241"/>
                  </a:cubicBezTo>
                  <a:cubicBezTo>
                    <a:pt x="776" y="240"/>
                    <a:pt x="776" y="240"/>
                    <a:pt x="776" y="240"/>
                  </a:cubicBezTo>
                  <a:cubicBezTo>
                    <a:pt x="776" y="240"/>
                    <a:pt x="777" y="240"/>
                    <a:pt x="777" y="239"/>
                  </a:cubicBezTo>
                  <a:cubicBezTo>
                    <a:pt x="777" y="239"/>
                    <a:pt x="777" y="240"/>
                    <a:pt x="779" y="240"/>
                  </a:cubicBezTo>
                  <a:cubicBezTo>
                    <a:pt x="779" y="241"/>
                    <a:pt x="779" y="241"/>
                    <a:pt x="779" y="241"/>
                  </a:cubicBezTo>
                  <a:cubicBezTo>
                    <a:pt x="782" y="243"/>
                    <a:pt x="784" y="245"/>
                    <a:pt x="788" y="247"/>
                  </a:cubicBezTo>
                  <a:cubicBezTo>
                    <a:pt x="789" y="248"/>
                    <a:pt x="789" y="248"/>
                    <a:pt x="790" y="248"/>
                  </a:cubicBezTo>
                  <a:cubicBezTo>
                    <a:pt x="792" y="249"/>
                    <a:pt x="793" y="249"/>
                    <a:pt x="794" y="251"/>
                  </a:cubicBezTo>
                  <a:cubicBezTo>
                    <a:pt x="795" y="251"/>
                    <a:pt x="795" y="251"/>
                    <a:pt x="795" y="251"/>
                  </a:cubicBezTo>
                  <a:cubicBezTo>
                    <a:pt x="797" y="253"/>
                    <a:pt x="799" y="256"/>
                    <a:pt x="802" y="256"/>
                  </a:cubicBezTo>
                  <a:cubicBezTo>
                    <a:pt x="803" y="256"/>
                    <a:pt x="804" y="256"/>
                    <a:pt x="805" y="255"/>
                  </a:cubicBezTo>
                  <a:cubicBezTo>
                    <a:pt x="805" y="258"/>
                    <a:pt x="805" y="261"/>
                    <a:pt x="807" y="262"/>
                  </a:cubicBezTo>
                  <a:cubicBezTo>
                    <a:pt x="809" y="264"/>
                    <a:pt x="812" y="265"/>
                    <a:pt x="814" y="266"/>
                  </a:cubicBezTo>
                  <a:cubicBezTo>
                    <a:pt x="815" y="266"/>
                    <a:pt x="816" y="266"/>
                    <a:pt x="816" y="266"/>
                  </a:cubicBezTo>
                  <a:cubicBezTo>
                    <a:pt x="818" y="267"/>
                    <a:pt x="820" y="268"/>
                    <a:pt x="822" y="270"/>
                  </a:cubicBezTo>
                  <a:cubicBezTo>
                    <a:pt x="826" y="275"/>
                    <a:pt x="830" y="278"/>
                    <a:pt x="838" y="278"/>
                  </a:cubicBezTo>
                  <a:cubicBezTo>
                    <a:pt x="843" y="278"/>
                    <a:pt x="847" y="277"/>
                    <a:pt x="849" y="274"/>
                  </a:cubicBezTo>
                  <a:cubicBezTo>
                    <a:pt x="850" y="272"/>
                    <a:pt x="851" y="270"/>
                    <a:pt x="849" y="266"/>
                  </a:cubicBezTo>
                  <a:cubicBezTo>
                    <a:pt x="848" y="263"/>
                    <a:pt x="848" y="263"/>
                    <a:pt x="848" y="263"/>
                  </a:cubicBezTo>
                  <a:cubicBezTo>
                    <a:pt x="847" y="260"/>
                    <a:pt x="845" y="255"/>
                    <a:pt x="843" y="252"/>
                  </a:cubicBezTo>
                  <a:cubicBezTo>
                    <a:pt x="844" y="252"/>
                    <a:pt x="844" y="252"/>
                    <a:pt x="845" y="252"/>
                  </a:cubicBezTo>
                  <a:cubicBezTo>
                    <a:pt x="846" y="252"/>
                    <a:pt x="846" y="252"/>
                    <a:pt x="847" y="251"/>
                  </a:cubicBezTo>
                  <a:cubicBezTo>
                    <a:pt x="850" y="250"/>
                    <a:pt x="851" y="247"/>
                    <a:pt x="852" y="245"/>
                  </a:cubicBezTo>
                  <a:cubicBezTo>
                    <a:pt x="852" y="244"/>
                    <a:pt x="852" y="243"/>
                    <a:pt x="853" y="242"/>
                  </a:cubicBezTo>
                  <a:cubicBezTo>
                    <a:pt x="855" y="239"/>
                    <a:pt x="855" y="237"/>
                    <a:pt x="853" y="234"/>
                  </a:cubicBezTo>
                  <a:cubicBezTo>
                    <a:pt x="853" y="234"/>
                    <a:pt x="852" y="234"/>
                    <a:pt x="852" y="233"/>
                  </a:cubicBezTo>
                  <a:cubicBezTo>
                    <a:pt x="852" y="233"/>
                    <a:pt x="853" y="232"/>
                    <a:pt x="853" y="231"/>
                  </a:cubicBezTo>
                  <a:cubicBezTo>
                    <a:pt x="854" y="230"/>
                    <a:pt x="855" y="229"/>
                    <a:pt x="854" y="227"/>
                  </a:cubicBezTo>
                  <a:cubicBezTo>
                    <a:pt x="853" y="225"/>
                    <a:pt x="851" y="224"/>
                    <a:pt x="850" y="223"/>
                  </a:cubicBezTo>
                  <a:cubicBezTo>
                    <a:pt x="849" y="223"/>
                    <a:pt x="849" y="223"/>
                    <a:pt x="849" y="223"/>
                  </a:cubicBezTo>
                  <a:cubicBezTo>
                    <a:pt x="848" y="222"/>
                    <a:pt x="848" y="222"/>
                    <a:pt x="847" y="221"/>
                  </a:cubicBezTo>
                  <a:cubicBezTo>
                    <a:pt x="851" y="221"/>
                    <a:pt x="853" y="219"/>
                    <a:pt x="854" y="218"/>
                  </a:cubicBezTo>
                  <a:cubicBezTo>
                    <a:pt x="855" y="215"/>
                    <a:pt x="855" y="213"/>
                    <a:pt x="854" y="211"/>
                  </a:cubicBezTo>
                  <a:cubicBezTo>
                    <a:pt x="854" y="210"/>
                    <a:pt x="854" y="209"/>
                    <a:pt x="854" y="209"/>
                  </a:cubicBezTo>
                  <a:cubicBezTo>
                    <a:pt x="854" y="208"/>
                    <a:pt x="855" y="208"/>
                    <a:pt x="855" y="207"/>
                  </a:cubicBezTo>
                  <a:cubicBezTo>
                    <a:pt x="856" y="205"/>
                    <a:pt x="858" y="200"/>
                    <a:pt x="852" y="197"/>
                  </a:cubicBezTo>
                  <a:cubicBezTo>
                    <a:pt x="850" y="196"/>
                    <a:pt x="848" y="196"/>
                    <a:pt x="847" y="195"/>
                  </a:cubicBezTo>
                  <a:cubicBezTo>
                    <a:pt x="845" y="195"/>
                    <a:pt x="844" y="195"/>
                    <a:pt x="843" y="194"/>
                  </a:cubicBezTo>
                  <a:cubicBezTo>
                    <a:pt x="842" y="194"/>
                    <a:pt x="842" y="194"/>
                    <a:pt x="842" y="194"/>
                  </a:cubicBezTo>
                  <a:cubicBezTo>
                    <a:pt x="840" y="193"/>
                    <a:pt x="839" y="192"/>
                    <a:pt x="837" y="192"/>
                  </a:cubicBezTo>
                  <a:cubicBezTo>
                    <a:pt x="835" y="192"/>
                    <a:pt x="833" y="193"/>
                    <a:pt x="831" y="195"/>
                  </a:cubicBezTo>
                  <a:cubicBezTo>
                    <a:pt x="830" y="196"/>
                    <a:pt x="829" y="197"/>
                    <a:pt x="829" y="198"/>
                  </a:cubicBezTo>
                  <a:cubicBezTo>
                    <a:pt x="827" y="199"/>
                    <a:pt x="826" y="201"/>
                    <a:pt x="825" y="201"/>
                  </a:cubicBezTo>
                  <a:cubicBezTo>
                    <a:pt x="825" y="200"/>
                    <a:pt x="825" y="200"/>
                    <a:pt x="825" y="199"/>
                  </a:cubicBezTo>
                  <a:cubicBezTo>
                    <a:pt x="825" y="196"/>
                    <a:pt x="825" y="193"/>
                    <a:pt x="823" y="191"/>
                  </a:cubicBezTo>
                  <a:cubicBezTo>
                    <a:pt x="822" y="190"/>
                    <a:pt x="821" y="189"/>
                    <a:pt x="819" y="189"/>
                  </a:cubicBezTo>
                  <a:cubicBezTo>
                    <a:pt x="819" y="189"/>
                    <a:pt x="818" y="189"/>
                    <a:pt x="818" y="190"/>
                  </a:cubicBezTo>
                  <a:cubicBezTo>
                    <a:pt x="816" y="190"/>
                    <a:pt x="814" y="191"/>
                    <a:pt x="812" y="193"/>
                  </a:cubicBezTo>
                  <a:cubicBezTo>
                    <a:pt x="811" y="193"/>
                    <a:pt x="810" y="194"/>
                    <a:pt x="810" y="194"/>
                  </a:cubicBezTo>
                  <a:cubicBezTo>
                    <a:pt x="810" y="194"/>
                    <a:pt x="810" y="194"/>
                    <a:pt x="810" y="194"/>
                  </a:cubicBezTo>
                  <a:cubicBezTo>
                    <a:pt x="809" y="194"/>
                    <a:pt x="808" y="193"/>
                    <a:pt x="807" y="191"/>
                  </a:cubicBezTo>
                  <a:cubicBezTo>
                    <a:pt x="806" y="191"/>
                    <a:pt x="806" y="190"/>
                    <a:pt x="805" y="189"/>
                  </a:cubicBezTo>
                  <a:cubicBezTo>
                    <a:pt x="802" y="186"/>
                    <a:pt x="799" y="183"/>
                    <a:pt x="796" y="181"/>
                  </a:cubicBezTo>
                  <a:cubicBezTo>
                    <a:pt x="796" y="181"/>
                    <a:pt x="796" y="181"/>
                    <a:pt x="796" y="181"/>
                  </a:cubicBezTo>
                  <a:cubicBezTo>
                    <a:pt x="795" y="180"/>
                    <a:pt x="793" y="178"/>
                    <a:pt x="790" y="178"/>
                  </a:cubicBezTo>
                  <a:cubicBezTo>
                    <a:pt x="790" y="178"/>
                    <a:pt x="789" y="178"/>
                    <a:pt x="789" y="178"/>
                  </a:cubicBezTo>
                  <a:cubicBezTo>
                    <a:pt x="788" y="179"/>
                    <a:pt x="787" y="179"/>
                    <a:pt x="786" y="180"/>
                  </a:cubicBezTo>
                  <a:cubicBezTo>
                    <a:pt x="785" y="177"/>
                    <a:pt x="785" y="175"/>
                    <a:pt x="783" y="174"/>
                  </a:cubicBezTo>
                  <a:cubicBezTo>
                    <a:pt x="782" y="174"/>
                    <a:pt x="782" y="174"/>
                    <a:pt x="782" y="174"/>
                  </a:cubicBezTo>
                  <a:cubicBezTo>
                    <a:pt x="782" y="174"/>
                    <a:pt x="782" y="174"/>
                    <a:pt x="782" y="174"/>
                  </a:cubicBezTo>
                  <a:cubicBezTo>
                    <a:pt x="780" y="174"/>
                    <a:pt x="778" y="176"/>
                    <a:pt x="776" y="177"/>
                  </a:cubicBezTo>
                  <a:cubicBezTo>
                    <a:pt x="776" y="178"/>
                    <a:pt x="775" y="179"/>
                    <a:pt x="774" y="179"/>
                  </a:cubicBezTo>
                  <a:cubicBezTo>
                    <a:pt x="774" y="179"/>
                    <a:pt x="774" y="179"/>
                    <a:pt x="774" y="179"/>
                  </a:cubicBezTo>
                  <a:cubicBezTo>
                    <a:pt x="773" y="179"/>
                    <a:pt x="773" y="179"/>
                    <a:pt x="772" y="179"/>
                  </a:cubicBezTo>
                  <a:cubicBezTo>
                    <a:pt x="772" y="179"/>
                    <a:pt x="771" y="179"/>
                    <a:pt x="771" y="179"/>
                  </a:cubicBezTo>
                  <a:cubicBezTo>
                    <a:pt x="770" y="179"/>
                    <a:pt x="769" y="180"/>
                    <a:pt x="768" y="180"/>
                  </a:cubicBezTo>
                  <a:cubicBezTo>
                    <a:pt x="767" y="180"/>
                    <a:pt x="767" y="180"/>
                    <a:pt x="766" y="181"/>
                  </a:cubicBezTo>
                  <a:cubicBezTo>
                    <a:pt x="766" y="181"/>
                    <a:pt x="765" y="181"/>
                    <a:pt x="765" y="181"/>
                  </a:cubicBezTo>
                  <a:cubicBezTo>
                    <a:pt x="764" y="181"/>
                    <a:pt x="763" y="181"/>
                    <a:pt x="762" y="180"/>
                  </a:cubicBezTo>
                  <a:cubicBezTo>
                    <a:pt x="762" y="180"/>
                    <a:pt x="761" y="180"/>
                    <a:pt x="760" y="179"/>
                  </a:cubicBezTo>
                  <a:cubicBezTo>
                    <a:pt x="755" y="178"/>
                    <a:pt x="751" y="176"/>
                    <a:pt x="747" y="173"/>
                  </a:cubicBezTo>
                  <a:cubicBezTo>
                    <a:pt x="746" y="173"/>
                    <a:pt x="746" y="173"/>
                    <a:pt x="746" y="173"/>
                  </a:cubicBezTo>
                  <a:cubicBezTo>
                    <a:pt x="742" y="171"/>
                    <a:pt x="738" y="170"/>
                    <a:pt x="735" y="169"/>
                  </a:cubicBezTo>
                  <a:cubicBezTo>
                    <a:pt x="733" y="169"/>
                    <a:pt x="731" y="168"/>
                    <a:pt x="729" y="168"/>
                  </a:cubicBezTo>
                  <a:cubicBezTo>
                    <a:pt x="727" y="167"/>
                    <a:pt x="726" y="165"/>
                    <a:pt x="727" y="163"/>
                  </a:cubicBezTo>
                  <a:cubicBezTo>
                    <a:pt x="727" y="163"/>
                    <a:pt x="728" y="161"/>
                    <a:pt x="728" y="161"/>
                  </a:cubicBezTo>
                  <a:cubicBezTo>
                    <a:pt x="730" y="159"/>
                    <a:pt x="733" y="156"/>
                    <a:pt x="731" y="152"/>
                  </a:cubicBezTo>
                  <a:cubicBezTo>
                    <a:pt x="731" y="151"/>
                    <a:pt x="730" y="151"/>
                    <a:pt x="730" y="150"/>
                  </a:cubicBezTo>
                  <a:cubicBezTo>
                    <a:pt x="731" y="150"/>
                    <a:pt x="733" y="149"/>
                    <a:pt x="734" y="149"/>
                  </a:cubicBezTo>
                  <a:cubicBezTo>
                    <a:pt x="736" y="149"/>
                    <a:pt x="737" y="149"/>
                    <a:pt x="738" y="148"/>
                  </a:cubicBezTo>
                  <a:cubicBezTo>
                    <a:pt x="742" y="147"/>
                    <a:pt x="745" y="143"/>
                    <a:pt x="745" y="140"/>
                  </a:cubicBezTo>
                  <a:cubicBezTo>
                    <a:pt x="745" y="137"/>
                    <a:pt x="743" y="134"/>
                    <a:pt x="740" y="132"/>
                  </a:cubicBezTo>
                  <a:cubicBezTo>
                    <a:pt x="738" y="131"/>
                    <a:pt x="737" y="131"/>
                    <a:pt x="735" y="131"/>
                  </a:cubicBezTo>
                  <a:cubicBezTo>
                    <a:pt x="732" y="131"/>
                    <a:pt x="730" y="132"/>
                    <a:pt x="727" y="133"/>
                  </a:cubicBezTo>
                  <a:cubicBezTo>
                    <a:pt x="725" y="134"/>
                    <a:pt x="724" y="135"/>
                    <a:pt x="722" y="135"/>
                  </a:cubicBezTo>
                  <a:cubicBezTo>
                    <a:pt x="721" y="135"/>
                    <a:pt x="720" y="135"/>
                    <a:pt x="719" y="135"/>
                  </a:cubicBezTo>
                  <a:cubicBezTo>
                    <a:pt x="718" y="135"/>
                    <a:pt x="718" y="135"/>
                    <a:pt x="717" y="135"/>
                  </a:cubicBezTo>
                  <a:cubicBezTo>
                    <a:pt x="717" y="135"/>
                    <a:pt x="717" y="135"/>
                    <a:pt x="717" y="135"/>
                  </a:cubicBezTo>
                  <a:cubicBezTo>
                    <a:pt x="717" y="135"/>
                    <a:pt x="717" y="135"/>
                    <a:pt x="718" y="134"/>
                  </a:cubicBezTo>
                  <a:cubicBezTo>
                    <a:pt x="718" y="132"/>
                    <a:pt x="721" y="129"/>
                    <a:pt x="724" y="129"/>
                  </a:cubicBezTo>
                  <a:cubicBezTo>
                    <a:pt x="724" y="129"/>
                    <a:pt x="725" y="129"/>
                    <a:pt x="725" y="129"/>
                  </a:cubicBezTo>
                  <a:cubicBezTo>
                    <a:pt x="727" y="129"/>
                    <a:pt x="732" y="129"/>
                    <a:pt x="733" y="125"/>
                  </a:cubicBezTo>
                  <a:cubicBezTo>
                    <a:pt x="734" y="121"/>
                    <a:pt x="732" y="117"/>
                    <a:pt x="727" y="112"/>
                  </a:cubicBezTo>
                  <a:cubicBezTo>
                    <a:pt x="725" y="111"/>
                    <a:pt x="717" y="106"/>
                    <a:pt x="712" y="106"/>
                  </a:cubicBezTo>
                  <a:cubicBezTo>
                    <a:pt x="708" y="106"/>
                    <a:pt x="706" y="108"/>
                    <a:pt x="706" y="113"/>
                  </a:cubicBezTo>
                  <a:cubicBezTo>
                    <a:pt x="706" y="113"/>
                    <a:pt x="706" y="114"/>
                    <a:pt x="706" y="115"/>
                  </a:cubicBezTo>
                  <a:cubicBezTo>
                    <a:pt x="706" y="115"/>
                    <a:pt x="705" y="114"/>
                    <a:pt x="705" y="114"/>
                  </a:cubicBezTo>
                  <a:cubicBezTo>
                    <a:pt x="704" y="113"/>
                    <a:pt x="704" y="112"/>
                    <a:pt x="703" y="112"/>
                  </a:cubicBezTo>
                  <a:cubicBezTo>
                    <a:pt x="703" y="111"/>
                    <a:pt x="704" y="109"/>
                    <a:pt x="705" y="109"/>
                  </a:cubicBezTo>
                  <a:cubicBezTo>
                    <a:pt x="705" y="108"/>
                    <a:pt x="706" y="108"/>
                    <a:pt x="706" y="107"/>
                  </a:cubicBezTo>
                  <a:cubicBezTo>
                    <a:pt x="706" y="107"/>
                    <a:pt x="706" y="107"/>
                    <a:pt x="706" y="107"/>
                  </a:cubicBezTo>
                  <a:cubicBezTo>
                    <a:pt x="707" y="105"/>
                    <a:pt x="710" y="101"/>
                    <a:pt x="707" y="97"/>
                  </a:cubicBezTo>
                  <a:cubicBezTo>
                    <a:pt x="705" y="95"/>
                    <a:pt x="702" y="95"/>
                    <a:pt x="701" y="95"/>
                  </a:cubicBezTo>
                  <a:cubicBezTo>
                    <a:pt x="701" y="95"/>
                    <a:pt x="700" y="95"/>
                    <a:pt x="699" y="95"/>
                  </a:cubicBezTo>
                  <a:cubicBezTo>
                    <a:pt x="699" y="95"/>
                    <a:pt x="698" y="95"/>
                    <a:pt x="698" y="95"/>
                  </a:cubicBezTo>
                  <a:cubicBezTo>
                    <a:pt x="697" y="95"/>
                    <a:pt x="697" y="95"/>
                    <a:pt x="697" y="95"/>
                  </a:cubicBezTo>
                  <a:cubicBezTo>
                    <a:pt x="697" y="95"/>
                    <a:pt x="696" y="94"/>
                    <a:pt x="695" y="94"/>
                  </a:cubicBezTo>
                  <a:cubicBezTo>
                    <a:pt x="694" y="93"/>
                    <a:pt x="693" y="92"/>
                    <a:pt x="691" y="92"/>
                  </a:cubicBezTo>
                  <a:cubicBezTo>
                    <a:pt x="690" y="92"/>
                    <a:pt x="690" y="92"/>
                    <a:pt x="689" y="93"/>
                  </a:cubicBezTo>
                  <a:cubicBezTo>
                    <a:pt x="689" y="93"/>
                    <a:pt x="688" y="93"/>
                    <a:pt x="687" y="94"/>
                  </a:cubicBezTo>
                  <a:cubicBezTo>
                    <a:pt x="687" y="93"/>
                    <a:pt x="687" y="93"/>
                    <a:pt x="687" y="93"/>
                  </a:cubicBezTo>
                  <a:cubicBezTo>
                    <a:pt x="685" y="93"/>
                    <a:pt x="685" y="93"/>
                    <a:pt x="685" y="93"/>
                  </a:cubicBezTo>
                  <a:cubicBezTo>
                    <a:pt x="683" y="93"/>
                    <a:pt x="681" y="94"/>
                    <a:pt x="679" y="95"/>
                  </a:cubicBezTo>
                  <a:cubicBezTo>
                    <a:pt x="679" y="95"/>
                    <a:pt x="679" y="95"/>
                    <a:pt x="679" y="95"/>
                  </a:cubicBezTo>
                  <a:cubicBezTo>
                    <a:pt x="678" y="96"/>
                    <a:pt x="677" y="97"/>
                    <a:pt x="676" y="97"/>
                  </a:cubicBezTo>
                  <a:cubicBezTo>
                    <a:pt x="676" y="98"/>
                    <a:pt x="675" y="98"/>
                    <a:pt x="675" y="99"/>
                  </a:cubicBezTo>
                  <a:cubicBezTo>
                    <a:pt x="675" y="99"/>
                    <a:pt x="675" y="98"/>
                    <a:pt x="675" y="98"/>
                  </a:cubicBezTo>
                  <a:cubicBezTo>
                    <a:pt x="675" y="96"/>
                    <a:pt x="675" y="90"/>
                    <a:pt x="670" y="88"/>
                  </a:cubicBezTo>
                  <a:cubicBezTo>
                    <a:pt x="670" y="88"/>
                    <a:pt x="669" y="88"/>
                    <a:pt x="668" y="88"/>
                  </a:cubicBezTo>
                  <a:cubicBezTo>
                    <a:pt x="664" y="88"/>
                    <a:pt x="663" y="92"/>
                    <a:pt x="661" y="95"/>
                  </a:cubicBezTo>
                  <a:cubicBezTo>
                    <a:pt x="661" y="96"/>
                    <a:pt x="661" y="97"/>
                    <a:pt x="661" y="97"/>
                  </a:cubicBezTo>
                  <a:cubicBezTo>
                    <a:pt x="660" y="98"/>
                    <a:pt x="660" y="99"/>
                    <a:pt x="659" y="99"/>
                  </a:cubicBezTo>
                  <a:cubicBezTo>
                    <a:pt x="658" y="101"/>
                    <a:pt x="656" y="104"/>
                    <a:pt x="655" y="104"/>
                  </a:cubicBezTo>
                  <a:cubicBezTo>
                    <a:pt x="654" y="104"/>
                    <a:pt x="654" y="104"/>
                    <a:pt x="654" y="104"/>
                  </a:cubicBezTo>
                  <a:cubicBezTo>
                    <a:pt x="654" y="104"/>
                    <a:pt x="653" y="103"/>
                    <a:pt x="654" y="101"/>
                  </a:cubicBezTo>
                  <a:cubicBezTo>
                    <a:pt x="655" y="98"/>
                    <a:pt x="656" y="97"/>
                    <a:pt x="656" y="96"/>
                  </a:cubicBezTo>
                  <a:cubicBezTo>
                    <a:pt x="659" y="95"/>
                    <a:pt x="663" y="92"/>
                    <a:pt x="665" y="87"/>
                  </a:cubicBezTo>
                  <a:cubicBezTo>
                    <a:pt x="666" y="85"/>
                    <a:pt x="665" y="83"/>
                    <a:pt x="664" y="82"/>
                  </a:cubicBezTo>
                  <a:cubicBezTo>
                    <a:pt x="663" y="80"/>
                    <a:pt x="661" y="79"/>
                    <a:pt x="659" y="78"/>
                  </a:cubicBezTo>
                  <a:cubicBezTo>
                    <a:pt x="659" y="78"/>
                    <a:pt x="658" y="78"/>
                    <a:pt x="658" y="78"/>
                  </a:cubicBezTo>
                  <a:cubicBezTo>
                    <a:pt x="657" y="78"/>
                    <a:pt x="657" y="77"/>
                    <a:pt x="656" y="77"/>
                  </a:cubicBezTo>
                  <a:cubicBezTo>
                    <a:pt x="654" y="76"/>
                    <a:pt x="651" y="74"/>
                    <a:pt x="648" y="74"/>
                  </a:cubicBezTo>
                  <a:cubicBezTo>
                    <a:pt x="647" y="73"/>
                    <a:pt x="646" y="73"/>
                    <a:pt x="645" y="73"/>
                  </a:cubicBezTo>
                  <a:cubicBezTo>
                    <a:pt x="642" y="73"/>
                    <a:pt x="640" y="74"/>
                    <a:pt x="638" y="76"/>
                  </a:cubicBezTo>
                  <a:cubicBezTo>
                    <a:pt x="637" y="78"/>
                    <a:pt x="637" y="80"/>
                    <a:pt x="637" y="82"/>
                  </a:cubicBezTo>
                  <a:cubicBezTo>
                    <a:pt x="637" y="83"/>
                    <a:pt x="637" y="84"/>
                    <a:pt x="637" y="85"/>
                  </a:cubicBezTo>
                  <a:cubicBezTo>
                    <a:pt x="637" y="86"/>
                    <a:pt x="636" y="87"/>
                    <a:pt x="636" y="87"/>
                  </a:cubicBezTo>
                  <a:cubicBezTo>
                    <a:pt x="636" y="87"/>
                    <a:pt x="636" y="86"/>
                    <a:pt x="635" y="86"/>
                  </a:cubicBezTo>
                  <a:cubicBezTo>
                    <a:pt x="634" y="82"/>
                    <a:pt x="632" y="77"/>
                    <a:pt x="627" y="76"/>
                  </a:cubicBezTo>
                  <a:cubicBezTo>
                    <a:pt x="626" y="76"/>
                    <a:pt x="626" y="76"/>
                    <a:pt x="625" y="76"/>
                  </a:cubicBezTo>
                  <a:cubicBezTo>
                    <a:pt x="623" y="76"/>
                    <a:pt x="621" y="77"/>
                    <a:pt x="619" y="78"/>
                  </a:cubicBezTo>
                  <a:cubicBezTo>
                    <a:pt x="619" y="78"/>
                    <a:pt x="618" y="79"/>
                    <a:pt x="617" y="79"/>
                  </a:cubicBezTo>
                  <a:cubicBezTo>
                    <a:pt x="618" y="79"/>
                    <a:pt x="618" y="78"/>
                    <a:pt x="618" y="77"/>
                  </a:cubicBezTo>
                  <a:cubicBezTo>
                    <a:pt x="620" y="75"/>
                    <a:pt x="622" y="72"/>
                    <a:pt x="621" y="70"/>
                  </a:cubicBezTo>
                  <a:cubicBezTo>
                    <a:pt x="621" y="64"/>
                    <a:pt x="616" y="63"/>
                    <a:pt x="614" y="63"/>
                  </a:cubicBezTo>
                  <a:cubicBezTo>
                    <a:pt x="611" y="63"/>
                    <a:pt x="610" y="62"/>
                    <a:pt x="609" y="61"/>
                  </a:cubicBezTo>
                  <a:cubicBezTo>
                    <a:pt x="609" y="60"/>
                    <a:pt x="608" y="59"/>
                    <a:pt x="608" y="58"/>
                  </a:cubicBezTo>
                  <a:cubicBezTo>
                    <a:pt x="608" y="56"/>
                    <a:pt x="607" y="55"/>
                    <a:pt x="607" y="54"/>
                  </a:cubicBezTo>
                  <a:cubicBezTo>
                    <a:pt x="605" y="50"/>
                    <a:pt x="600" y="47"/>
                    <a:pt x="596" y="46"/>
                  </a:cubicBezTo>
                  <a:cubicBezTo>
                    <a:pt x="596" y="46"/>
                    <a:pt x="595" y="46"/>
                    <a:pt x="595" y="46"/>
                  </a:cubicBezTo>
                  <a:cubicBezTo>
                    <a:pt x="594" y="46"/>
                    <a:pt x="593" y="46"/>
                    <a:pt x="593" y="47"/>
                  </a:cubicBezTo>
                  <a:cubicBezTo>
                    <a:pt x="592" y="47"/>
                    <a:pt x="591" y="47"/>
                    <a:pt x="591" y="47"/>
                  </a:cubicBezTo>
                  <a:cubicBezTo>
                    <a:pt x="590" y="47"/>
                    <a:pt x="590" y="47"/>
                    <a:pt x="589" y="47"/>
                  </a:cubicBezTo>
                  <a:cubicBezTo>
                    <a:pt x="588" y="46"/>
                    <a:pt x="587" y="46"/>
                    <a:pt x="586" y="45"/>
                  </a:cubicBezTo>
                  <a:cubicBezTo>
                    <a:pt x="584" y="44"/>
                    <a:pt x="581" y="43"/>
                    <a:pt x="578" y="43"/>
                  </a:cubicBezTo>
                  <a:cubicBezTo>
                    <a:pt x="578" y="43"/>
                    <a:pt x="577" y="43"/>
                    <a:pt x="576" y="44"/>
                  </a:cubicBezTo>
                  <a:cubicBezTo>
                    <a:pt x="572" y="44"/>
                    <a:pt x="568" y="47"/>
                    <a:pt x="564" y="52"/>
                  </a:cubicBezTo>
                  <a:cubicBezTo>
                    <a:pt x="561" y="57"/>
                    <a:pt x="560" y="60"/>
                    <a:pt x="564" y="65"/>
                  </a:cubicBezTo>
                  <a:cubicBezTo>
                    <a:pt x="564" y="65"/>
                    <a:pt x="564" y="65"/>
                    <a:pt x="564" y="65"/>
                  </a:cubicBezTo>
                  <a:cubicBezTo>
                    <a:pt x="563" y="66"/>
                    <a:pt x="562" y="66"/>
                    <a:pt x="561" y="67"/>
                  </a:cubicBezTo>
                  <a:cubicBezTo>
                    <a:pt x="560" y="65"/>
                    <a:pt x="557" y="64"/>
                    <a:pt x="555" y="64"/>
                  </a:cubicBezTo>
                  <a:cubicBezTo>
                    <a:pt x="555" y="64"/>
                    <a:pt x="554" y="64"/>
                    <a:pt x="554" y="63"/>
                  </a:cubicBezTo>
                  <a:cubicBezTo>
                    <a:pt x="553" y="63"/>
                    <a:pt x="551" y="63"/>
                    <a:pt x="550" y="63"/>
                  </a:cubicBezTo>
                  <a:cubicBezTo>
                    <a:pt x="549" y="63"/>
                    <a:pt x="549" y="63"/>
                    <a:pt x="549" y="63"/>
                  </a:cubicBezTo>
                  <a:cubicBezTo>
                    <a:pt x="549" y="63"/>
                    <a:pt x="549" y="63"/>
                    <a:pt x="549" y="63"/>
                  </a:cubicBezTo>
                  <a:cubicBezTo>
                    <a:pt x="545" y="63"/>
                    <a:pt x="544" y="67"/>
                    <a:pt x="544" y="70"/>
                  </a:cubicBezTo>
                  <a:cubicBezTo>
                    <a:pt x="543" y="70"/>
                    <a:pt x="543" y="71"/>
                    <a:pt x="543" y="71"/>
                  </a:cubicBezTo>
                  <a:cubicBezTo>
                    <a:pt x="542" y="74"/>
                    <a:pt x="541" y="76"/>
                    <a:pt x="541" y="77"/>
                  </a:cubicBezTo>
                  <a:cubicBezTo>
                    <a:pt x="540" y="76"/>
                    <a:pt x="540" y="74"/>
                    <a:pt x="540" y="72"/>
                  </a:cubicBezTo>
                  <a:cubicBezTo>
                    <a:pt x="540" y="72"/>
                    <a:pt x="540" y="71"/>
                    <a:pt x="540" y="71"/>
                  </a:cubicBezTo>
                  <a:cubicBezTo>
                    <a:pt x="540" y="70"/>
                    <a:pt x="540" y="69"/>
                    <a:pt x="540" y="69"/>
                  </a:cubicBezTo>
                  <a:cubicBezTo>
                    <a:pt x="540" y="66"/>
                    <a:pt x="539" y="64"/>
                    <a:pt x="540" y="62"/>
                  </a:cubicBezTo>
                  <a:cubicBezTo>
                    <a:pt x="540" y="62"/>
                    <a:pt x="540" y="62"/>
                    <a:pt x="541" y="61"/>
                  </a:cubicBezTo>
                  <a:cubicBezTo>
                    <a:pt x="542" y="60"/>
                    <a:pt x="543" y="60"/>
                    <a:pt x="543" y="58"/>
                  </a:cubicBezTo>
                  <a:cubicBezTo>
                    <a:pt x="547" y="52"/>
                    <a:pt x="543" y="47"/>
                    <a:pt x="541" y="43"/>
                  </a:cubicBezTo>
                  <a:cubicBezTo>
                    <a:pt x="540" y="42"/>
                    <a:pt x="539" y="41"/>
                    <a:pt x="539" y="40"/>
                  </a:cubicBezTo>
                  <a:cubicBezTo>
                    <a:pt x="538" y="38"/>
                    <a:pt x="537" y="37"/>
                    <a:pt x="536" y="36"/>
                  </a:cubicBezTo>
                  <a:cubicBezTo>
                    <a:pt x="535" y="34"/>
                    <a:pt x="534" y="33"/>
                    <a:pt x="533" y="32"/>
                  </a:cubicBezTo>
                  <a:cubicBezTo>
                    <a:pt x="533" y="31"/>
                    <a:pt x="533" y="30"/>
                    <a:pt x="533" y="29"/>
                  </a:cubicBezTo>
                  <a:cubicBezTo>
                    <a:pt x="532" y="28"/>
                    <a:pt x="532" y="27"/>
                    <a:pt x="532" y="26"/>
                  </a:cubicBezTo>
                  <a:cubicBezTo>
                    <a:pt x="531" y="21"/>
                    <a:pt x="527" y="16"/>
                    <a:pt x="523" y="14"/>
                  </a:cubicBezTo>
                  <a:cubicBezTo>
                    <a:pt x="522" y="13"/>
                    <a:pt x="521" y="13"/>
                    <a:pt x="519" y="13"/>
                  </a:cubicBezTo>
                  <a:cubicBezTo>
                    <a:pt x="517" y="13"/>
                    <a:pt x="515" y="14"/>
                    <a:pt x="513" y="15"/>
                  </a:cubicBezTo>
                  <a:cubicBezTo>
                    <a:pt x="512" y="16"/>
                    <a:pt x="511" y="16"/>
                    <a:pt x="510" y="17"/>
                  </a:cubicBezTo>
                  <a:cubicBezTo>
                    <a:pt x="509" y="17"/>
                    <a:pt x="509" y="17"/>
                    <a:pt x="508" y="17"/>
                  </a:cubicBezTo>
                  <a:cubicBezTo>
                    <a:pt x="506" y="18"/>
                    <a:pt x="504" y="18"/>
                    <a:pt x="501" y="20"/>
                  </a:cubicBezTo>
                  <a:cubicBezTo>
                    <a:pt x="496" y="23"/>
                    <a:pt x="491" y="28"/>
                    <a:pt x="487" y="33"/>
                  </a:cubicBezTo>
                  <a:cubicBezTo>
                    <a:pt x="479" y="43"/>
                    <a:pt x="473" y="57"/>
                    <a:pt x="479" y="67"/>
                  </a:cubicBezTo>
                  <a:cubicBezTo>
                    <a:pt x="480" y="68"/>
                    <a:pt x="482" y="70"/>
                    <a:pt x="484" y="71"/>
                  </a:cubicBezTo>
                  <a:cubicBezTo>
                    <a:pt x="485" y="72"/>
                    <a:pt x="488" y="74"/>
                    <a:pt x="489" y="75"/>
                  </a:cubicBezTo>
                  <a:cubicBezTo>
                    <a:pt x="488" y="76"/>
                    <a:pt x="488" y="76"/>
                    <a:pt x="487" y="76"/>
                  </a:cubicBezTo>
                  <a:cubicBezTo>
                    <a:pt x="487" y="76"/>
                    <a:pt x="486" y="77"/>
                    <a:pt x="486" y="77"/>
                  </a:cubicBezTo>
                  <a:cubicBezTo>
                    <a:pt x="484" y="79"/>
                    <a:pt x="481" y="81"/>
                    <a:pt x="479" y="85"/>
                  </a:cubicBezTo>
                  <a:cubicBezTo>
                    <a:pt x="476" y="94"/>
                    <a:pt x="485" y="100"/>
                    <a:pt x="489" y="102"/>
                  </a:cubicBezTo>
                  <a:cubicBezTo>
                    <a:pt x="493" y="105"/>
                    <a:pt x="495" y="106"/>
                    <a:pt x="494" y="110"/>
                  </a:cubicBezTo>
                  <a:cubicBezTo>
                    <a:pt x="494" y="111"/>
                    <a:pt x="494" y="111"/>
                    <a:pt x="494" y="112"/>
                  </a:cubicBezTo>
                  <a:cubicBezTo>
                    <a:pt x="494" y="108"/>
                    <a:pt x="490" y="106"/>
                    <a:pt x="487" y="104"/>
                  </a:cubicBezTo>
                  <a:cubicBezTo>
                    <a:pt x="486" y="103"/>
                    <a:pt x="484" y="102"/>
                    <a:pt x="483" y="101"/>
                  </a:cubicBezTo>
                  <a:cubicBezTo>
                    <a:pt x="482" y="100"/>
                    <a:pt x="481" y="97"/>
                    <a:pt x="480" y="95"/>
                  </a:cubicBezTo>
                  <a:cubicBezTo>
                    <a:pt x="480" y="94"/>
                    <a:pt x="479" y="93"/>
                    <a:pt x="478" y="91"/>
                  </a:cubicBezTo>
                  <a:cubicBezTo>
                    <a:pt x="478" y="90"/>
                    <a:pt x="478" y="90"/>
                    <a:pt x="478" y="90"/>
                  </a:cubicBezTo>
                  <a:cubicBezTo>
                    <a:pt x="476" y="87"/>
                    <a:pt x="475" y="86"/>
                    <a:pt x="475" y="83"/>
                  </a:cubicBezTo>
                  <a:cubicBezTo>
                    <a:pt x="475" y="81"/>
                    <a:pt x="475" y="80"/>
                    <a:pt x="476" y="78"/>
                  </a:cubicBezTo>
                  <a:cubicBezTo>
                    <a:pt x="476" y="73"/>
                    <a:pt x="477" y="68"/>
                    <a:pt x="473" y="62"/>
                  </a:cubicBezTo>
                  <a:cubicBezTo>
                    <a:pt x="473" y="62"/>
                    <a:pt x="472" y="61"/>
                    <a:pt x="472" y="61"/>
                  </a:cubicBezTo>
                  <a:cubicBezTo>
                    <a:pt x="471" y="60"/>
                    <a:pt x="471" y="59"/>
                    <a:pt x="471" y="58"/>
                  </a:cubicBezTo>
                  <a:cubicBezTo>
                    <a:pt x="471" y="55"/>
                    <a:pt x="472" y="51"/>
                    <a:pt x="473" y="49"/>
                  </a:cubicBezTo>
                  <a:cubicBezTo>
                    <a:pt x="474" y="46"/>
                    <a:pt x="475" y="43"/>
                    <a:pt x="477" y="41"/>
                  </a:cubicBezTo>
                  <a:cubicBezTo>
                    <a:pt x="477" y="40"/>
                    <a:pt x="478" y="39"/>
                    <a:pt x="478" y="38"/>
                  </a:cubicBezTo>
                  <a:cubicBezTo>
                    <a:pt x="479" y="36"/>
                    <a:pt x="481" y="33"/>
                    <a:pt x="483" y="31"/>
                  </a:cubicBezTo>
                  <a:cubicBezTo>
                    <a:pt x="483" y="30"/>
                    <a:pt x="484" y="30"/>
                    <a:pt x="485" y="29"/>
                  </a:cubicBezTo>
                  <a:cubicBezTo>
                    <a:pt x="487" y="25"/>
                    <a:pt x="489" y="22"/>
                    <a:pt x="489" y="17"/>
                  </a:cubicBezTo>
                  <a:cubicBezTo>
                    <a:pt x="488" y="14"/>
                    <a:pt x="488" y="14"/>
                    <a:pt x="488" y="14"/>
                  </a:cubicBezTo>
                  <a:cubicBezTo>
                    <a:pt x="486" y="14"/>
                    <a:pt x="486" y="14"/>
                    <a:pt x="486" y="14"/>
                  </a:cubicBezTo>
                  <a:cubicBezTo>
                    <a:pt x="481" y="14"/>
                    <a:pt x="477" y="14"/>
                    <a:pt x="473" y="13"/>
                  </a:cubicBezTo>
                  <a:cubicBezTo>
                    <a:pt x="470" y="13"/>
                    <a:pt x="470" y="13"/>
                    <a:pt x="470" y="13"/>
                  </a:cubicBezTo>
                  <a:cubicBezTo>
                    <a:pt x="469" y="13"/>
                    <a:pt x="468" y="13"/>
                    <a:pt x="467" y="13"/>
                  </a:cubicBezTo>
                  <a:cubicBezTo>
                    <a:pt x="464" y="13"/>
                    <a:pt x="462" y="13"/>
                    <a:pt x="460" y="15"/>
                  </a:cubicBezTo>
                  <a:cubicBezTo>
                    <a:pt x="459" y="16"/>
                    <a:pt x="459" y="16"/>
                    <a:pt x="458" y="17"/>
                  </a:cubicBezTo>
                  <a:cubicBezTo>
                    <a:pt x="455" y="19"/>
                    <a:pt x="451" y="22"/>
                    <a:pt x="449" y="25"/>
                  </a:cubicBezTo>
                  <a:cubicBezTo>
                    <a:pt x="448" y="27"/>
                    <a:pt x="448" y="27"/>
                    <a:pt x="448" y="27"/>
                  </a:cubicBezTo>
                  <a:cubicBezTo>
                    <a:pt x="443" y="36"/>
                    <a:pt x="437" y="44"/>
                    <a:pt x="434" y="54"/>
                  </a:cubicBezTo>
                  <a:cubicBezTo>
                    <a:pt x="430" y="68"/>
                    <a:pt x="426" y="89"/>
                    <a:pt x="428" y="108"/>
                  </a:cubicBezTo>
                  <a:cubicBezTo>
                    <a:pt x="430" y="115"/>
                    <a:pt x="434" y="119"/>
                    <a:pt x="441" y="121"/>
                  </a:cubicBezTo>
                  <a:cubicBezTo>
                    <a:pt x="444" y="122"/>
                    <a:pt x="446" y="122"/>
                    <a:pt x="449" y="122"/>
                  </a:cubicBezTo>
                  <a:cubicBezTo>
                    <a:pt x="450" y="122"/>
                    <a:pt x="450" y="122"/>
                    <a:pt x="450" y="122"/>
                  </a:cubicBezTo>
                  <a:cubicBezTo>
                    <a:pt x="454" y="122"/>
                    <a:pt x="461" y="126"/>
                    <a:pt x="461" y="129"/>
                  </a:cubicBezTo>
                  <a:cubicBezTo>
                    <a:pt x="461" y="129"/>
                    <a:pt x="461" y="129"/>
                    <a:pt x="460" y="129"/>
                  </a:cubicBezTo>
                  <a:cubicBezTo>
                    <a:pt x="458" y="129"/>
                    <a:pt x="453" y="127"/>
                    <a:pt x="452" y="126"/>
                  </a:cubicBezTo>
                  <a:cubicBezTo>
                    <a:pt x="452" y="126"/>
                    <a:pt x="450" y="126"/>
                    <a:pt x="449" y="125"/>
                  </a:cubicBezTo>
                  <a:cubicBezTo>
                    <a:pt x="447" y="124"/>
                    <a:pt x="443" y="123"/>
                    <a:pt x="440" y="123"/>
                  </a:cubicBezTo>
                  <a:cubicBezTo>
                    <a:pt x="438" y="123"/>
                    <a:pt x="437" y="124"/>
                    <a:pt x="436" y="125"/>
                  </a:cubicBezTo>
                  <a:cubicBezTo>
                    <a:pt x="431" y="129"/>
                    <a:pt x="434" y="134"/>
                    <a:pt x="436" y="137"/>
                  </a:cubicBezTo>
                  <a:cubicBezTo>
                    <a:pt x="437" y="138"/>
                    <a:pt x="437" y="139"/>
                    <a:pt x="437" y="139"/>
                  </a:cubicBezTo>
                  <a:cubicBezTo>
                    <a:pt x="439" y="145"/>
                    <a:pt x="442" y="147"/>
                    <a:pt x="446" y="151"/>
                  </a:cubicBezTo>
                  <a:cubicBezTo>
                    <a:pt x="452" y="156"/>
                    <a:pt x="460" y="157"/>
                    <a:pt x="463" y="157"/>
                  </a:cubicBezTo>
                  <a:cubicBezTo>
                    <a:pt x="463" y="157"/>
                    <a:pt x="464" y="157"/>
                    <a:pt x="464" y="157"/>
                  </a:cubicBezTo>
                  <a:cubicBezTo>
                    <a:pt x="466" y="157"/>
                    <a:pt x="468" y="157"/>
                    <a:pt x="469" y="156"/>
                  </a:cubicBezTo>
                  <a:cubicBezTo>
                    <a:pt x="470" y="156"/>
                    <a:pt x="471" y="156"/>
                    <a:pt x="472" y="156"/>
                  </a:cubicBezTo>
                  <a:cubicBezTo>
                    <a:pt x="472" y="156"/>
                    <a:pt x="473" y="156"/>
                    <a:pt x="474" y="158"/>
                  </a:cubicBezTo>
                  <a:cubicBezTo>
                    <a:pt x="475" y="159"/>
                    <a:pt x="475" y="159"/>
                    <a:pt x="475" y="159"/>
                  </a:cubicBezTo>
                  <a:cubicBezTo>
                    <a:pt x="477" y="162"/>
                    <a:pt x="480" y="166"/>
                    <a:pt x="484" y="167"/>
                  </a:cubicBezTo>
                  <a:cubicBezTo>
                    <a:pt x="485" y="167"/>
                    <a:pt x="485" y="167"/>
                    <a:pt x="486" y="167"/>
                  </a:cubicBezTo>
                  <a:cubicBezTo>
                    <a:pt x="488" y="167"/>
                    <a:pt x="489" y="166"/>
                    <a:pt x="491" y="166"/>
                  </a:cubicBezTo>
                  <a:cubicBezTo>
                    <a:pt x="492" y="165"/>
                    <a:pt x="493" y="165"/>
                    <a:pt x="494" y="165"/>
                  </a:cubicBezTo>
                  <a:cubicBezTo>
                    <a:pt x="494" y="165"/>
                    <a:pt x="495" y="165"/>
                    <a:pt x="495" y="165"/>
                  </a:cubicBezTo>
                  <a:cubicBezTo>
                    <a:pt x="498" y="166"/>
                    <a:pt x="498" y="166"/>
                    <a:pt x="498" y="166"/>
                  </a:cubicBezTo>
                  <a:cubicBezTo>
                    <a:pt x="500" y="166"/>
                    <a:pt x="502" y="167"/>
                    <a:pt x="505" y="167"/>
                  </a:cubicBezTo>
                  <a:cubicBezTo>
                    <a:pt x="503" y="167"/>
                    <a:pt x="501" y="168"/>
                    <a:pt x="500" y="168"/>
                  </a:cubicBezTo>
                  <a:cubicBezTo>
                    <a:pt x="499" y="169"/>
                    <a:pt x="499" y="169"/>
                    <a:pt x="498" y="169"/>
                  </a:cubicBezTo>
                  <a:cubicBezTo>
                    <a:pt x="497" y="169"/>
                    <a:pt x="496" y="169"/>
                    <a:pt x="495" y="169"/>
                  </a:cubicBezTo>
                  <a:cubicBezTo>
                    <a:pt x="495" y="169"/>
                    <a:pt x="495" y="169"/>
                    <a:pt x="495" y="169"/>
                  </a:cubicBezTo>
                  <a:cubicBezTo>
                    <a:pt x="495" y="169"/>
                    <a:pt x="494" y="169"/>
                    <a:pt x="494" y="169"/>
                  </a:cubicBezTo>
                  <a:cubicBezTo>
                    <a:pt x="494" y="169"/>
                    <a:pt x="493" y="169"/>
                    <a:pt x="492" y="169"/>
                  </a:cubicBezTo>
                  <a:cubicBezTo>
                    <a:pt x="492" y="169"/>
                    <a:pt x="491" y="169"/>
                    <a:pt x="491" y="169"/>
                  </a:cubicBezTo>
                  <a:cubicBezTo>
                    <a:pt x="487" y="171"/>
                    <a:pt x="487" y="176"/>
                    <a:pt x="488" y="181"/>
                  </a:cubicBezTo>
                  <a:cubicBezTo>
                    <a:pt x="488" y="181"/>
                    <a:pt x="488" y="182"/>
                    <a:pt x="488" y="182"/>
                  </a:cubicBezTo>
                  <a:cubicBezTo>
                    <a:pt x="488" y="186"/>
                    <a:pt x="488" y="190"/>
                    <a:pt x="489" y="193"/>
                  </a:cubicBezTo>
                  <a:cubicBezTo>
                    <a:pt x="490" y="198"/>
                    <a:pt x="494" y="199"/>
                    <a:pt x="497" y="199"/>
                  </a:cubicBezTo>
                  <a:cubicBezTo>
                    <a:pt x="497" y="200"/>
                    <a:pt x="497" y="200"/>
                    <a:pt x="497" y="201"/>
                  </a:cubicBezTo>
                  <a:cubicBezTo>
                    <a:pt x="497" y="201"/>
                    <a:pt x="497" y="202"/>
                    <a:pt x="497" y="203"/>
                  </a:cubicBezTo>
                  <a:cubicBezTo>
                    <a:pt x="497" y="203"/>
                    <a:pt x="497" y="204"/>
                    <a:pt x="497" y="204"/>
                  </a:cubicBezTo>
                  <a:cubicBezTo>
                    <a:pt x="497" y="206"/>
                    <a:pt x="497" y="209"/>
                    <a:pt x="496" y="210"/>
                  </a:cubicBezTo>
                  <a:cubicBezTo>
                    <a:pt x="495" y="210"/>
                    <a:pt x="494" y="211"/>
                    <a:pt x="494" y="211"/>
                  </a:cubicBezTo>
                  <a:cubicBezTo>
                    <a:pt x="492" y="212"/>
                    <a:pt x="489" y="213"/>
                    <a:pt x="488" y="215"/>
                  </a:cubicBezTo>
                  <a:cubicBezTo>
                    <a:pt x="487" y="217"/>
                    <a:pt x="487" y="220"/>
                    <a:pt x="487" y="223"/>
                  </a:cubicBezTo>
                  <a:cubicBezTo>
                    <a:pt x="487" y="224"/>
                    <a:pt x="487" y="225"/>
                    <a:pt x="486" y="226"/>
                  </a:cubicBezTo>
                  <a:cubicBezTo>
                    <a:pt x="486" y="229"/>
                    <a:pt x="486" y="231"/>
                    <a:pt x="486" y="234"/>
                  </a:cubicBezTo>
                  <a:cubicBezTo>
                    <a:pt x="486" y="237"/>
                    <a:pt x="486" y="240"/>
                    <a:pt x="485" y="243"/>
                  </a:cubicBezTo>
                  <a:cubicBezTo>
                    <a:pt x="485" y="243"/>
                    <a:pt x="485" y="243"/>
                    <a:pt x="484" y="243"/>
                  </a:cubicBezTo>
                  <a:cubicBezTo>
                    <a:pt x="484" y="244"/>
                    <a:pt x="484" y="244"/>
                    <a:pt x="483" y="244"/>
                  </a:cubicBezTo>
                  <a:cubicBezTo>
                    <a:pt x="481" y="246"/>
                    <a:pt x="479" y="250"/>
                    <a:pt x="478" y="254"/>
                  </a:cubicBezTo>
                  <a:cubicBezTo>
                    <a:pt x="478" y="255"/>
                    <a:pt x="478" y="257"/>
                    <a:pt x="478" y="258"/>
                  </a:cubicBezTo>
                  <a:cubicBezTo>
                    <a:pt x="478" y="260"/>
                    <a:pt x="478" y="262"/>
                    <a:pt x="478" y="263"/>
                  </a:cubicBezTo>
                  <a:cubicBezTo>
                    <a:pt x="477" y="263"/>
                    <a:pt x="477" y="264"/>
                    <a:pt x="476" y="264"/>
                  </a:cubicBezTo>
                  <a:cubicBezTo>
                    <a:pt x="475" y="264"/>
                    <a:pt x="474" y="265"/>
                    <a:pt x="473" y="266"/>
                  </a:cubicBezTo>
                  <a:cubicBezTo>
                    <a:pt x="472" y="267"/>
                    <a:pt x="471" y="268"/>
                    <a:pt x="471" y="269"/>
                  </a:cubicBezTo>
                  <a:cubicBezTo>
                    <a:pt x="470" y="268"/>
                    <a:pt x="469" y="266"/>
                    <a:pt x="468" y="264"/>
                  </a:cubicBezTo>
                  <a:cubicBezTo>
                    <a:pt x="467" y="262"/>
                    <a:pt x="465" y="260"/>
                    <a:pt x="463" y="258"/>
                  </a:cubicBezTo>
                  <a:cubicBezTo>
                    <a:pt x="463" y="258"/>
                    <a:pt x="463" y="258"/>
                    <a:pt x="463" y="258"/>
                  </a:cubicBezTo>
                  <a:cubicBezTo>
                    <a:pt x="461" y="257"/>
                    <a:pt x="460" y="255"/>
                    <a:pt x="459" y="253"/>
                  </a:cubicBezTo>
                  <a:cubicBezTo>
                    <a:pt x="458" y="251"/>
                    <a:pt x="457" y="251"/>
                    <a:pt x="457" y="250"/>
                  </a:cubicBezTo>
                  <a:cubicBezTo>
                    <a:pt x="457" y="248"/>
                    <a:pt x="457" y="248"/>
                    <a:pt x="457" y="248"/>
                  </a:cubicBezTo>
                  <a:cubicBezTo>
                    <a:pt x="458" y="246"/>
                    <a:pt x="458" y="243"/>
                    <a:pt x="457" y="241"/>
                  </a:cubicBezTo>
                  <a:cubicBezTo>
                    <a:pt x="457" y="240"/>
                    <a:pt x="457" y="240"/>
                    <a:pt x="457" y="240"/>
                  </a:cubicBezTo>
                  <a:cubicBezTo>
                    <a:pt x="457" y="239"/>
                    <a:pt x="456" y="237"/>
                    <a:pt x="456" y="237"/>
                  </a:cubicBezTo>
                  <a:cubicBezTo>
                    <a:pt x="457" y="236"/>
                    <a:pt x="458" y="235"/>
                    <a:pt x="458" y="234"/>
                  </a:cubicBezTo>
                  <a:cubicBezTo>
                    <a:pt x="459" y="233"/>
                    <a:pt x="459" y="233"/>
                    <a:pt x="459" y="233"/>
                  </a:cubicBezTo>
                  <a:cubicBezTo>
                    <a:pt x="461" y="231"/>
                    <a:pt x="462" y="228"/>
                    <a:pt x="462" y="226"/>
                  </a:cubicBezTo>
                  <a:cubicBezTo>
                    <a:pt x="462" y="225"/>
                    <a:pt x="462" y="224"/>
                    <a:pt x="462" y="223"/>
                  </a:cubicBezTo>
                  <a:cubicBezTo>
                    <a:pt x="462" y="220"/>
                    <a:pt x="463" y="216"/>
                    <a:pt x="461" y="212"/>
                  </a:cubicBezTo>
                  <a:cubicBezTo>
                    <a:pt x="460" y="211"/>
                    <a:pt x="459" y="210"/>
                    <a:pt x="459" y="209"/>
                  </a:cubicBezTo>
                  <a:cubicBezTo>
                    <a:pt x="458" y="208"/>
                    <a:pt x="458" y="208"/>
                    <a:pt x="457" y="207"/>
                  </a:cubicBezTo>
                  <a:cubicBezTo>
                    <a:pt x="456" y="205"/>
                    <a:pt x="454" y="204"/>
                    <a:pt x="452" y="202"/>
                  </a:cubicBezTo>
                  <a:cubicBezTo>
                    <a:pt x="452" y="201"/>
                    <a:pt x="451" y="201"/>
                    <a:pt x="450" y="200"/>
                  </a:cubicBezTo>
                  <a:cubicBezTo>
                    <a:pt x="449" y="200"/>
                    <a:pt x="448" y="199"/>
                    <a:pt x="448" y="199"/>
                  </a:cubicBezTo>
                  <a:cubicBezTo>
                    <a:pt x="448" y="198"/>
                    <a:pt x="448" y="198"/>
                    <a:pt x="447" y="197"/>
                  </a:cubicBezTo>
                  <a:cubicBezTo>
                    <a:pt x="446" y="196"/>
                    <a:pt x="444" y="192"/>
                    <a:pt x="441" y="192"/>
                  </a:cubicBezTo>
                  <a:cubicBezTo>
                    <a:pt x="440" y="192"/>
                    <a:pt x="440" y="192"/>
                    <a:pt x="440" y="192"/>
                  </a:cubicBezTo>
                  <a:cubicBezTo>
                    <a:pt x="435" y="193"/>
                    <a:pt x="435" y="197"/>
                    <a:pt x="435" y="199"/>
                  </a:cubicBezTo>
                  <a:cubicBezTo>
                    <a:pt x="435" y="199"/>
                    <a:pt x="434" y="200"/>
                    <a:pt x="434" y="201"/>
                  </a:cubicBezTo>
                  <a:cubicBezTo>
                    <a:pt x="433" y="202"/>
                    <a:pt x="433" y="203"/>
                    <a:pt x="432" y="205"/>
                  </a:cubicBezTo>
                  <a:cubicBezTo>
                    <a:pt x="432" y="206"/>
                    <a:pt x="432" y="206"/>
                    <a:pt x="432" y="206"/>
                  </a:cubicBezTo>
                  <a:cubicBezTo>
                    <a:pt x="432" y="208"/>
                    <a:pt x="432" y="210"/>
                    <a:pt x="432" y="212"/>
                  </a:cubicBezTo>
                  <a:cubicBezTo>
                    <a:pt x="432" y="215"/>
                    <a:pt x="431" y="217"/>
                    <a:pt x="429" y="220"/>
                  </a:cubicBezTo>
                  <a:cubicBezTo>
                    <a:pt x="429" y="221"/>
                    <a:pt x="429" y="222"/>
                    <a:pt x="428" y="223"/>
                  </a:cubicBezTo>
                  <a:cubicBezTo>
                    <a:pt x="428" y="224"/>
                    <a:pt x="428" y="226"/>
                    <a:pt x="428" y="227"/>
                  </a:cubicBezTo>
                  <a:cubicBezTo>
                    <a:pt x="428" y="230"/>
                    <a:pt x="427" y="230"/>
                    <a:pt x="427" y="231"/>
                  </a:cubicBezTo>
                  <a:cubicBezTo>
                    <a:pt x="427" y="231"/>
                    <a:pt x="426" y="230"/>
                    <a:pt x="425" y="222"/>
                  </a:cubicBezTo>
                  <a:cubicBezTo>
                    <a:pt x="425" y="221"/>
                    <a:pt x="425" y="219"/>
                    <a:pt x="426" y="217"/>
                  </a:cubicBezTo>
                  <a:cubicBezTo>
                    <a:pt x="426" y="213"/>
                    <a:pt x="426" y="208"/>
                    <a:pt x="424" y="203"/>
                  </a:cubicBezTo>
                  <a:cubicBezTo>
                    <a:pt x="423" y="202"/>
                    <a:pt x="422" y="201"/>
                    <a:pt x="422" y="200"/>
                  </a:cubicBezTo>
                  <a:cubicBezTo>
                    <a:pt x="421" y="199"/>
                    <a:pt x="420" y="198"/>
                    <a:pt x="419" y="197"/>
                  </a:cubicBezTo>
                  <a:cubicBezTo>
                    <a:pt x="419" y="196"/>
                    <a:pt x="420" y="196"/>
                    <a:pt x="421" y="194"/>
                  </a:cubicBezTo>
                  <a:cubicBezTo>
                    <a:pt x="423" y="193"/>
                    <a:pt x="425" y="191"/>
                    <a:pt x="425" y="188"/>
                  </a:cubicBezTo>
                  <a:cubicBezTo>
                    <a:pt x="425" y="184"/>
                    <a:pt x="421" y="183"/>
                    <a:pt x="418" y="182"/>
                  </a:cubicBezTo>
                  <a:cubicBezTo>
                    <a:pt x="418" y="182"/>
                    <a:pt x="417" y="182"/>
                    <a:pt x="417" y="182"/>
                  </a:cubicBezTo>
                  <a:cubicBezTo>
                    <a:pt x="416" y="181"/>
                    <a:pt x="415" y="181"/>
                    <a:pt x="415" y="181"/>
                  </a:cubicBezTo>
                  <a:cubicBezTo>
                    <a:pt x="414" y="180"/>
                    <a:pt x="412" y="179"/>
                    <a:pt x="411" y="179"/>
                  </a:cubicBezTo>
                  <a:cubicBezTo>
                    <a:pt x="409" y="179"/>
                    <a:pt x="407" y="181"/>
                    <a:pt x="405" y="182"/>
                  </a:cubicBezTo>
                  <a:cubicBezTo>
                    <a:pt x="405" y="183"/>
                    <a:pt x="404" y="183"/>
                    <a:pt x="404" y="183"/>
                  </a:cubicBezTo>
                  <a:cubicBezTo>
                    <a:pt x="404" y="183"/>
                    <a:pt x="403" y="182"/>
                    <a:pt x="403" y="181"/>
                  </a:cubicBezTo>
                  <a:cubicBezTo>
                    <a:pt x="402" y="180"/>
                    <a:pt x="402" y="180"/>
                    <a:pt x="402" y="180"/>
                  </a:cubicBezTo>
                  <a:cubicBezTo>
                    <a:pt x="401" y="179"/>
                    <a:pt x="399" y="178"/>
                    <a:pt x="398" y="177"/>
                  </a:cubicBezTo>
                  <a:cubicBezTo>
                    <a:pt x="398" y="177"/>
                    <a:pt x="397" y="176"/>
                    <a:pt x="397" y="176"/>
                  </a:cubicBezTo>
                  <a:cubicBezTo>
                    <a:pt x="397" y="176"/>
                    <a:pt x="397" y="176"/>
                    <a:pt x="397" y="176"/>
                  </a:cubicBezTo>
                  <a:cubicBezTo>
                    <a:pt x="397" y="176"/>
                    <a:pt x="397" y="176"/>
                    <a:pt x="400" y="175"/>
                  </a:cubicBezTo>
                  <a:cubicBezTo>
                    <a:pt x="401" y="174"/>
                    <a:pt x="403" y="173"/>
                    <a:pt x="405" y="172"/>
                  </a:cubicBezTo>
                  <a:cubicBezTo>
                    <a:pt x="406" y="170"/>
                    <a:pt x="406" y="168"/>
                    <a:pt x="406" y="167"/>
                  </a:cubicBezTo>
                  <a:cubicBezTo>
                    <a:pt x="406" y="166"/>
                    <a:pt x="406" y="165"/>
                    <a:pt x="406" y="165"/>
                  </a:cubicBezTo>
                  <a:cubicBezTo>
                    <a:pt x="406" y="165"/>
                    <a:pt x="407" y="165"/>
                    <a:pt x="408" y="165"/>
                  </a:cubicBezTo>
                  <a:cubicBezTo>
                    <a:pt x="409" y="165"/>
                    <a:pt x="411" y="165"/>
                    <a:pt x="412" y="161"/>
                  </a:cubicBezTo>
                  <a:cubicBezTo>
                    <a:pt x="414" y="157"/>
                    <a:pt x="410" y="154"/>
                    <a:pt x="409" y="153"/>
                  </a:cubicBezTo>
                  <a:cubicBezTo>
                    <a:pt x="407" y="152"/>
                    <a:pt x="407" y="152"/>
                    <a:pt x="406" y="151"/>
                  </a:cubicBezTo>
                  <a:cubicBezTo>
                    <a:pt x="406" y="150"/>
                    <a:pt x="405" y="149"/>
                    <a:pt x="405" y="148"/>
                  </a:cubicBezTo>
                  <a:cubicBezTo>
                    <a:pt x="404" y="147"/>
                    <a:pt x="404" y="146"/>
                    <a:pt x="403" y="145"/>
                  </a:cubicBezTo>
                  <a:cubicBezTo>
                    <a:pt x="403" y="144"/>
                    <a:pt x="403" y="143"/>
                    <a:pt x="403" y="143"/>
                  </a:cubicBezTo>
                  <a:cubicBezTo>
                    <a:pt x="402" y="141"/>
                    <a:pt x="402" y="140"/>
                    <a:pt x="401" y="138"/>
                  </a:cubicBezTo>
                  <a:cubicBezTo>
                    <a:pt x="400" y="137"/>
                    <a:pt x="399" y="137"/>
                    <a:pt x="399" y="136"/>
                  </a:cubicBezTo>
                  <a:cubicBezTo>
                    <a:pt x="398" y="135"/>
                    <a:pt x="397" y="135"/>
                    <a:pt x="397" y="134"/>
                  </a:cubicBezTo>
                  <a:cubicBezTo>
                    <a:pt x="396" y="132"/>
                    <a:pt x="396" y="130"/>
                    <a:pt x="397" y="127"/>
                  </a:cubicBezTo>
                  <a:cubicBezTo>
                    <a:pt x="397" y="125"/>
                    <a:pt x="397" y="124"/>
                    <a:pt x="397" y="123"/>
                  </a:cubicBezTo>
                  <a:cubicBezTo>
                    <a:pt x="397" y="119"/>
                    <a:pt x="396" y="115"/>
                    <a:pt x="394" y="112"/>
                  </a:cubicBezTo>
                  <a:cubicBezTo>
                    <a:pt x="394" y="110"/>
                    <a:pt x="392" y="108"/>
                    <a:pt x="391" y="107"/>
                  </a:cubicBezTo>
                  <a:cubicBezTo>
                    <a:pt x="391" y="106"/>
                    <a:pt x="390" y="105"/>
                    <a:pt x="389" y="104"/>
                  </a:cubicBezTo>
                  <a:cubicBezTo>
                    <a:pt x="389" y="104"/>
                    <a:pt x="389" y="103"/>
                    <a:pt x="388" y="102"/>
                  </a:cubicBezTo>
                  <a:cubicBezTo>
                    <a:pt x="388" y="100"/>
                    <a:pt x="387" y="97"/>
                    <a:pt x="385" y="96"/>
                  </a:cubicBezTo>
                  <a:cubicBezTo>
                    <a:pt x="383" y="94"/>
                    <a:pt x="381" y="94"/>
                    <a:pt x="379" y="93"/>
                  </a:cubicBezTo>
                  <a:cubicBezTo>
                    <a:pt x="379" y="93"/>
                    <a:pt x="379" y="93"/>
                    <a:pt x="378" y="93"/>
                  </a:cubicBezTo>
                  <a:cubicBezTo>
                    <a:pt x="380" y="92"/>
                    <a:pt x="381" y="91"/>
                    <a:pt x="382" y="90"/>
                  </a:cubicBezTo>
                  <a:cubicBezTo>
                    <a:pt x="383" y="89"/>
                    <a:pt x="384" y="88"/>
                    <a:pt x="385" y="87"/>
                  </a:cubicBezTo>
                  <a:cubicBezTo>
                    <a:pt x="386" y="86"/>
                    <a:pt x="387" y="86"/>
                    <a:pt x="388" y="85"/>
                  </a:cubicBezTo>
                  <a:cubicBezTo>
                    <a:pt x="393" y="80"/>
                    <a:pt x="392" y="71"/>
                    <a:pt x="391" y="65"/>
                  </a:cubicBezTo>
                  <a:cubicBezTo>
                    <a:pt x="391" y="64"/>
                    <a:pt x="391" y="64"/>
                    <a:pt x="391" y="64"/>
                  </a:cubicBezTo>
                  <a:cubicBezTo>
                    <a:pt x="391" y="63"/>
                    <a:pt x="391" y="62"/>
                    <a:pt x="391" y="62"/>
                  </a:cubicBezTo>
                  <a:cubicBezTo>
                    <a:pt x="391" y="62"/>
                    <a:pt x="392" y="62"/>
                    <a:pt x="393" y="63"/>
                  </a:cubicBezTo>
                  <a:cubicBezTo>
                    <a:pt x="396" y="63"/>
                    <a:pt x="398" y="64"/>
                    <a:pt x="400" y="64"/>
                  </a:cubicBezTo>
                  <a:cubicBezTo>
                    <a:pt x="405" y="64"/>
                    <a:pt x="409" y="62"/>
                    <a:pt x="412" y="58"/>
                  </a:cubicBezTo>
                  <a:cubicBezTo>
                    <a:pt x="414" y="55"/>
                    <a:pt x="416" y="51"/>
                    <a:pt x="417" y="48"/>
                  </a:cubicBezTo>
                  <a:cubicBezTo>
                    <a:pt x="418" y="45"/>
                    <a:pt x="418" y="43"/>
                    <a:pt x="420" y="41"/>
                  </a:cubicBezTo>
                  <a:cubicBezTo>
                    <a:pt x="421" y="39"/>
                    <a:pt x="422" y="37"/>
                    <a:pt x="424" y="35"/>
                  </a:cubicBezTo>
                  <a:cubicBezTo>
                    <a:pt x="426" y="32"/>
                    <a:pt x="429" y="28"/>
                    <a:pt x="430" y="24"/>
                  </a:cubicBezTo>
                  <a:cubicBezTo>
                    <a:pt x="431" y="20"/>
                    <a:pt x="431" y="17"/>
                    <a:pt x="429" y="15"/>
                  </a:cubicBezTo>
                  <a:cubicBezTo>
                    <a:pt x="426" y="10"/>
                    <a:pt x="418" y="8"/>
                    <a:pt x="411" y="6"/>
                  </a:cubicBezTo>
                  <a:cubicBezTo>
                    <a:pt x="408" y="6"/>
                    <a:pt x="405" y="5"/>
                    <a:pt x="403" y="4"/>
                  </a:cubicBezTo>
                  <a:cubicBezTo>
                    <a:pt x="398" y="1"/>
                    <a:pt x="393" y="0"/>
                    <a:pt x="389" y="0"/>
                  </a:cubicBezTo>
                  <a:cubicBezTo>
                    <a:pt x="386" y="0"/>
                    <a:pt x="384" y="1"/>
                    <a:pt x="382" y="1"/>
                  </a:cubicBezTo>
                  <a:cubicBezTo>
                    <a:pt x="379" y="2"/>
                    <a:pt x="372" y="4"/>
                    <a:pt x="370" y="9"/>
                  </a:cubicBezTo>
                  <a:cubicBezTo>
                    <a:pt x="369" y="10"/>
                    <a:pt x="369" y="13"/>
                    <a:pt x="370" y="16"/>
                  </a:cubicBezTo>
                  <a:cubicBezTo>
                    <a:pt x="369" y="16"/>
                    <a:pt x="368" y="17"/>
                    <a:pt x="368" y="17"/>
                  </a:cubicBezTo>
                  <a:cubicBezTo>
                    <a:pt x="365" y="19"/>
                    <a:pt x="365" y="22"/>
                    <a:pt x="365" y="24"/>
                  </a:cubicBezTo>
                  <a:cubicBezTo>
                    <a:pt x="365" y="25"/>
                    <a:pt x="365" y="25"/>
                    <a:pt x="365" y="25"/>
                  </a:cubicBezTo>
                  <a:cubicBezTo>
                    <a:pt x="365" y="26"/>
                    <a:pt x="365" y="27"/>
                    <a:pt x="365" y="28"/>
                  </a:cubicBezTo>
                  <a:cubicBezTo>
                    <a:pt x="364" y="30"/>
                    <a:pt x="364" y="32"/>
                    <a:pt x="364" y="34"/>
                  </a:cubicBezTo>
                  <a:cubicBezTo>
                    <a:pt x="364" y="36"/>
                    <a:pt x="364" y="37"/>
                    <a:pt x="364" y="39"/>
                  </a:cubicBezTo>
                  <a:cubicBezTo>
                    <a:pt x="364" y="42"/>
                    <a:pt x="365" y="45"/>
                    <a:pt x="364" y="47"/>
                  </a:cubicBezTo>
                  <a:cubicBezTo>
                    <a:pt x="364" y="47"/>
                    <a:pt x="364" y="48"/>
                    <a:pt x="363" y="48"/>
                  </a:cubicBezTo>
                  <a:cubicBezTo>
                    <a:pt x="363" y="50"/>
                    <a:pt x="362" y="52"/>
                    <a:pt x="363" y="55"/>
                  </a:cubicBezTo>
                  <a:cubicBezTo>
                    <a:pt x="363" y="56"/>
                    <a:pt x="363" y="57"/>
                    <a:pt x="364" y="58"/>
                  </a:cubicBezTo>
                  <a:cubicBezTo>
                    <a:pt x="364" y="59"/>
                    <a:pt x="365" y="59"/>
                    <a:pt x="365" y="60"/>
                  </a:cubicBezTo>
                  <a:cubicBezTo>
                    <a:pt x="366" y="64"/>
                    <a:pt x="366" y="68"/>
                    <a:pt x="366" y="73"/>
                  </a:cubicBezTo>
                  <a:cubicBezTo>
                    <a:pt x="366" y="74"/>
                    <a:pt x="366" y="76"/>
                    <a:pt x="366" y="77"/>
                  </a:cubicBezTo>
                  <a:cubicBezTo>
                    <a:pt x="366" y="79"/>
                    <a:pt x="366" y="81"/>
                    <a:pt x="366" y="82"/>
                  </a:cubicBezTo>
                  <a:cubicBezTo>
                    <a:pt x="366" y="83"/>
                    <a:pt x="365" y="83"/>
                    <a:pt x="365" y="84"/>
                  </a:cubicBezTo>
                  <a:cubicBezTo>
                    <a:pt x="364" y="86"/>
                    <a:pt x="363" y="88"/>
                    <a:pt x="365" y="91"/>
                  </a:cubicBezTo>
                  <a:cubicBezTo>
                    <a:pt x="365" y="91"/>
                    <a:pt x="365" y="91"/>
                    <a:pt x="365" y="91"/>
                  </a:cubicBezTo>
                  <a:cubicBezTo>
                    <a:pt x="363" y="92"/>
                    <a:pt x="363" y="94"/>
                    <a:pt x="362" y="95"/>
                  </a:cubicBezTo>
                  <a:cubicBezTo>
                    <a:pt x="362" y="96"/>
                    <a:pt x="362" y="96"/>
                    <a:pt x="362" y="96"/>
                  </a:cubicBezTo>
                  <a:cubicBezTo>
                    <a:pt x="362" y="96"/>
                    <a:pt x="362" y="96"/>
                    <a:pt x="361" y="97"/>
                  </a:cubicBezTo>
                  <a:cubicBezTo>
                    <a:pt x="359" y="97"/>
                    <a:pt x="357" y="98"/>
                    <a:pt x="356" y="100"/>
                  </a:cubicBezTo>
                  <a:cubicBezTo>
                    <a:pt x="355" y="102"/>
                    <a:pt x="355" y="105"/>
                    <a:pt x="356" y="106"/>
                  </a:cubicBezTo>
                  <a:cubicBezTo>
                    <a:pt x="357" y="107"/>
                    <a:pt x="358" y="108"/>
                    <a:pt x="360" y="108"/>
                  </a:cubicBezTo>
                  <a:cubicBezTo>
                    <a:pt x="360" y="108"/>
                    <a:pt x="360" y="108"/>
                    <a:pt x="359" y="108"/>
                  </a:cubicBezTo>
                  <a:cubicBezTo>
                    <a:pt x="359" y="108"/>
                    <a:pt x="359" y="108"/>
                    <a:pt x="358" y="108"/>
                  </a:cubicBezTo>
                  <a:cubicBezTo>
                    <a:pt x="358" y="108"/>
                    <a:pt x="357" y="108"/>
                    <a:pt x="356" y="108"/>
                  </a:cubicBezTo>
                  <a:cubicBezTo>
                    <a:pt x="355" y="108"/>
                    <a:pt x="352" y="108"/>
                    <a:pt x="350" y="110"/>
                  </a:cubicBezTo>
                  <a:cubicBezTo>
                    <a:pt x="348" y="113"/>
                    <a:pt x="347" y="118"/>
                    <a:pt x="346" y="121"/>
                  </a:cubicBezTo>
                  <a:cubicBezTo>
                    <a:pt x="345" y="122"/>
                    <a:pt x="345" y="123"/>
                    <a:pt x="345" y="124"/>
                  </a:cubicBezTo>
                  <a:cubicBezTo>
                    <a:pt x="345" y="124"/>
                    <a:pt x="345" y="125"/>
                    <a:pt x="345" y="125"/>
                  </a:cubicBezTo>
                  <a:cubicBezTo>
                    <a:pt x="343" y="128"/>
                    <a:pt x="341" y="136"/>
                    <a:pt x="347" y="139"/>
                  </a:cubicBezTo>
                  <a:cubicBezTo>
                    <a:pt x="348" y="139"/>
                    <a:pt x="348" y="139"/>
                    <a:pt x="349" y="139"/>
                  </a:cubicBezTo>
                  <a:cubicBezTo>
                    <a:pt x="349" y="139"/>
                    <a:pt x="348" y="140"/>
                    <a:pt x="348" y="140"/>
                  </a:cubicBezTo>
                  <a:cubicBezTo>
                    <a:pt x="346" y="141"/>
                    <a:pt x="345" y="143"/>
                    <a:pt x="344" y="144"/>
                  </a:cubicBezTo>
                  <a:cubicBezTo>
                    <a:pt x="344" y="144"/>
                    <a:pt x="344" y="145"/>
                    <a:pt x="343" y="145"/>
                  </a:cubicBezTo>
                  <a:cubicBezTo>
                    <a:pt x="343" y="146"/>
                    <a:pt x="342" y="146"/>
                    <a:pt x="341" y="148"/>
                  </a:cubicBezTo>
                  <a:cubicBezTo>
                    <a:pt x="340" y="151"/>
                    <a:pt x="340" y="156"/>
                    <a:pt x="340" y="158"/>
                  </a:cubicBezTo>
                  <a:cubicBezTo>
                    <a:pt x="341" y="161"/>
                    <a:pt x="342" y="162"/>
                    <a:pt x="344" y="163"/>
                  </a:cubicBezTo>
                  <a:cubicBezTo>
                    <a:pt x="344" y="164"/>
                    <a:pt x="345" y="164"/>
                    <a:pt x="345" y="165"/>
                  </a:cubicBezTo>
                  <a:cubicBezTo>
                    <a:pt x="345" y="165"/>
                    <a:pt x="345" y="166"/>
                    <a:pt x="345" y="166"/>
                  </a:cubicBezTo>
                  <a:cubicBezTo>
                    <a:pt x="345" y="167"/>
                    <a:pt x="345" y="168"/>
                    <a:pt x="345" y="170"/>
                  </a:cubicBezTo>
                  <a:cubicBezTo>
                    <a:pt x="346" y="172"/>
                    <a:pt x="347" y="173"/>
                    <a:pt x="349" y="174"/>
                  </a:cubicBezTo>
                  <a:cubicBezTo>
                    <a:pt x="351" y="175"/>
                    <a:pt x="353" y="176"/>
                    <a:pt x="355" y="177"/>
                  </a:cubicBezTo>
                  <a:cubicBezTo>
                    <a:pt x="356" y="177"/>
                    <a:pt x="356" y="177"/>
                    <a:pt x="357" y="178"/>
                  </a:cubicBezTo>
                  <a:cubicBezTo>
                    <a:pt x="360" y="179"/>
                    <a:pt x="362" y="181"/>
                    <a:pt x="364" y="182"/>
                  </a:cubicBezTo>
                  <a:cubicBezTo>
                    <a:pt x="365" y="184"/>
                    <a:pt x="367" y="185"/>
                    <a:pt x="368" y="186"/>
                  </a:cubicBezTo>
                  <a:cubicBezTo>
                    <a:pt x="370" y="187"/>
                    <a:pt x="372" y="188"/>
                    <a:pt x="374" y="188"/>
                  </a:cubicBezTo>
                  <a:cubicBezTo>
                    <a:pt x="374" y="188"/>
                    <a:pt x="375" y="188"/>
                    <a:pt x="375" y="188"/>
                  </a:cubicBezTo>
                  <a:cubicBezTo>
                    <a:pt x="376" y="188"/>
                    <a:pt x="377" y="188"/>
                    <a:pt x="378" y="188"/>
                  </a:cubicBezTo>
                  <a:cubicBezTo>
                    <a:pt x="378" y="188"/>
                    <a:pt x="379" y="188"/>
                    <a:pt x="379" y="188"/>
                  </a:cubicBezTo>
                  <a:cubicBezTo>
                    <a:pt x="380" y="188"/>
                    <a:pt x="380" y="188"/>
                    <a:pt x="381" y="188"/>
                  </a:cubicBezTo>
                  <a:cubicBezTo>
                    <a:pt x="381" y="189"/>
                    <a:pt x="380" y="189"/>
                    <a:pt x="379" y="190"/>
                  </a:cubicBezTo>
                  <a:cubicBezTo>
                    <a:pt x="379" y="190"/>
                    <a:pt x="379" y="190"/>
                    <a:pt x="379" y="190"/>
                  </a:cubicBezTo>
                  <a:cubicBezTo>
                    <a:pt x="378" y="190"/>
                    <a:pt x="377" y="189"/>
                    <a:pt x="377" y="189"/>
                  </a:cubicBezTo>
                  <a:cubicBezTo>
                    <a:pt x="376" y="189"/>
                    <a:pt x="375" y="189"/>
                    <a:pt x="374" y="189"/>
                  </a:cubicBezTo>
                  <a:cubicBezTo>
                    <a:pt x="368" y="189"/>
                    <a:pt x="367" y="193"/>
                    <a:pt x="367" y="195"/>
                  </a:cubicBezTo>
                  <a:cubicBezTo>
                    <a:pt x="367" y="196"/>
                    <a:pt x="368" y="197"/>
                    <a:pt x="368" y="198"/>
                  </a:cubicBezTo>
                  <a:cubicBezTo>
                    <a:pt x="368" y="199"/>
                    <a:pt x="368" y="201"/>
                    <a:pt x="368" y="201"/>
                  </a:cubicBezTo>
                  <a:cubicBezTo>
                    <a:pt x="367" y="202"/>
                    <a:pt x="363" y="203"/>
                    <a:pt x="362" y="208"/>
                  </a:cubicBezTo>
                  <a:cubicBezTo>
                    <a:pt x="362" y="211"/>
                    <a:pt x="363" y="214"/>
                    <a:pt x="365" y="216"/>
                  </a:cubicBezTo>
                  <a:cubicBezTo>
                    <a:pt x="367" y="217"/>
                    <a:pt x="368" y="218"/>
                    <a:pt x="369" y="218"/>
                  </a:cubicBezTo>
                  <a:cubicBezTo>
                    <a:pt x="373" y="218"/>
                    <a:pt x="374" y="215"/>
                    <a:pt x="376" y="212"/>
                  </a:cubicBezTo>
                  <a:cubicBezTo>
                    <a:pt x="376" y="213"/>
                    <a:pt x="376" y="214"/>
                    <a:pt x="376" y="214"/>
                  </a:cubicBezTo>
                  <a:cubicBezTo>
                    <a:pt x="376" y="216"/>
                    <a:pt x="376" y="217"/>
                    <a:pt x="376" y="219"/>
                  </a:cubicBezTo>
                  <a:cubicBezTo>
                    <a:pt x="376" y="219"/>
                    <a:pt x="375" y="219"/>
                    <a:pt x="374" y="220"/>
                  </a:cubicBezTo>
                  <a:cubicBezTo>
                    <a:pt x="373" y="221"/>
                    <a:pt x="371" y="223"/>
                    <a:pt x="369" y="225"/>
                  </a:cubicBezTo>
                  <a:cubicBezTo>
                    <a:pt x="367" y="226"/>
                    <a:pt x="366" y="228"/>
                    <a:pt x="365" y="230"/>
                  </a:cubicBezTo>
                  <a:cubicBezTo>
                    <a:pt x="364" y="232"/>
                    <a:pt x="364" y="232"/>
                    <a:pt x="364" y="232"/>
                  </a:cubicBezTo>
                  <a:cubicBezTo>
                    <a:pt x="364" y="232"/>
                    <a:pt x="364" y="232"/>
                    <a:pt x="364" y="233"/>
                  </a:cubicBezTo>
                  <a:cubicBezTo>
                    <a:pt x="363" y="233"/>
                    <a:pt x="363" y="234"/>
                    <a:pt x="363" y="234"/>
                  </a:cubicBezTo>
                  <a:cubicBezTo>
                    <a:pt x="363" y="234"/>
                    <a:pt x="362" y="234"/>
                    <a:pt x="362" y="234"/>
                  </a:cubicBezTo>
                  <a:cubicBezTo>
                    <a:pt x="362" y="234"/>
                    <a:pt x="361" y="234"/>
                    <a:pt x="361" y="234"/>
                  </a:cubicBezTo>
                  <a:cubicBezTo>
                    <a:pt x="360" y="234"/>
                    <a:pt x="360" y="234"/>
                    <a:pt x="359" y="234"/>
                  </a:cubicBezTo>
                  <a:cubicBezTo>
                    <a:pt x="357" y="234"/>
                    <a:pt x="356" y="234"/>
                    <a:pt x="354" y="235"/>
                  </a:cubicBezTo>
                  <a:cubicBezTo>
                    <a:pt x="351" y="237"/>
                    <a:pt x="349" y="239"/>
                    <a:pt x="347" y="242"/>
                  </a:cubicBezTo>
                  <a:cubicBezTo>
                    <a:pt x="347" y="242"/>
                    <a:pt x="347" y="242"/>
                    <a:pt x="347" y="242"/>
                  </a:cubicBezTo>
                  <a:cubicBezTo>
                    <a:pt x="344" y="247"/>
                    <a:pt x="345" y="251"/>
                    <a:pt x="346" y="254"/>
                  </a:cubicBezTo>
                  <a:cubicBezTo>
                    <a:pt x="346" y="255"/>
                    <a:pt x="346" y="255"/>
                    <a:pt x="346" y="255"/>
                  </a:cubicBezTo>
                  <a:cubicBezTo>
                    <a:pt x="347" y="256"/>
                    <a:pt x="347" y="257"/>
                    <a:pt x="347" y="259"/>
                  </a:cubicBezTo>
                  <a:cubicBezTo>
                    <a:pt x="347" y="259"/>
                    <a:pt x="348" y="260"/>
                    <a:pt x="348" y="260"/>
                  </a:cubicBezTo>
                  <a:cubicBezTo>
                    <a:pt x="348" y="262"/>
                    <a:pt x="348" y="263"/>
                    <a:pt x="349" y="265"/>
                  </a:cubicBezTo>
                  <a:cubicBezTo>
                    <a:pt x="349" y="267"/>
                    <a:pt x="349" y="268"/>
                    <a:pt x="348" y="269"/>
                  </a:cubicBezTo>
                  <a:cubicBezTo>
                    <a:pt x="348" y="270"/>
                    <a:pt x="348" y="270"/>
                    <a:pt x="348" y="270"/>
                  </a:cubicBezTo>
                  <a:cubicBezTo>
                    <a:pt x="348" y="270"/>
                    <a:pt x="348" y="270"/>
                    <a:pt x="347" y="270"/>
                  </a:cubicBezTo>
                  <a:cubicBezTo>
                    <a:pt x="347" y="270"/>
                    <a:pt x="346" y="269"/>
                    <a:pt x="345" y="269"/>
                  </a:cubicBezTo>
                  <a:cubicBezTo>
                    <a:pt x="345" y="268"/>
                    <a:pt x="344" y="268"/>
                    <a:pt x="344" y="268"/>
                  </a:cubicBezTo>
                  <a:cubicBezTo>
                    <a:pt x="343" y="268"/>
                    <a:pt x="342" y="268"/>
                    <a:pt x="342" y="267"/>
                  </a:cubicBezTo>
                  <a:cubicBezTo>
                    <a:pt x="342" y="267"/>
                    <a:pt x="342" y="266"/>
                    <a:pt x="342" y="265"/>
                  </a:cubicBezTo>
                  <a:cubicBezTo>
                    <a:pt x="342" y="264"/>
                    <a:pt x="342" y="264"/>
                    <a:pt x="342" y="263"/>
                  </a:cubicBezTo>
                  <a:cubicBezTo>
                    <a:pt x="342" y="262"/>
                    <a:pt x="341" y="260"/>
                    <a:pt x="340" y="259"/>
                  </a:cubicBezTo>
                  <a:cubicBezTo>
                    <a:pt x="340" y="258"/>
                    <a:pt x="340" y="257"/>
                    <a:pt x="340" y="257"/>
                  </a:cubicBezTo>
                  <a:cubicBezTo>
                    <a:pt x="340" y="255"/>
                    <a:pt x="340" y="254"/>
                    <a:pt x="341" y="252"/>
                  </a:cubicBezTo>
                  <a:cubicBezTo>
                    <a:pt x="341" y="251"/>
                    <a:pt x="341" y="250"/>
                    <a:pt x="341" y="249"/>
                  </a:cubicBezTo>
                  <a:cubicBezTo>
                    <a:pt x="341" y="249"/>
                    <a:pt x="341" y="248"/>
                    <a:pt x="342" y="247"/>
                  </a:cubicBezTo>
                  <a:cubicBezTo>
                    <a:pt x="342" y="246"/>
                    <a:pt x="343" y="245"/>
                    <a:pt x="344" y="244"/>
                  </a:cubicBezTo>
                  <a:cubicBezTo>
                    <a:pt x="346" y="242"/>
                    <a:pt x="348" y="240"/>
                    <a:pt x="348" y="236"/>
                  </a:cubicBezTo>
                  <a:cubicBezTo>
                    <a:pt x="348" y="234"/>
                    <a:pt x="347" y="233"/>
                    <a:pt x="346" y="231"/>
                  </a:cubicBezTo>
                  <a:cubicBezTo>
                    <a:pt x="345" y="230"/>
                    <a:pt x="343" y="229"/>
                    <a:pt x="341" y="229"/>
                  </a:cubicBezTo>
                  <a:cubicBezTo>
                    <a:pt x="340" y="229"/>
                    <a:pt x="340" y="229"/>
                    <a:pt x="340" y="229"/>
                  </a:cubicBezTo>
                  <a:cubicBezTo>
                    <a:pt x="339" y="228"/>
                    <a:pt x="339" y="227"/>
                    <a:pt x="338" y="226"/>
                  </a:cubicBezTo>
                  <a:cubicBezTo>
                    <a:pt x="337" y="226"/>
                    <a:pt x="336" y="226"/>
                    <a:pt x="335" y="226"/>
                  </a:cubicBezTo>
                  <a:cubicBezTo>
                    <a:pt x="335" y="226"/>
                    <a:pt x="334" y="226"/>
                    <a:pt x="334" y="226"/>
                  </a:cubicBezTo>
                  <a:cubicBezTo>
                    <a:pt x="334" y="225"/>
                    <a:pt x="334" y="224"/>
                    <a:pt x="334" y="224"/>
                  </a:cubicBezTo>
                  <a:cubicBezTo>
                    <a:pt x="332" y="222"/>
                    <a:pt x="331" y="221"/>
                    <a:pt x="330" y="220"/>
                  </a:cubicBezTo>
                  <a:cubicBezTo>
                    <a:pt x="329" y="220"/>
                    <a:pt x="329" y="220"/>
                    <a:pt x="329" y="220"/>
                  </a:cubicBezTo>
                  <a:cubicBezTo>
                    <a:pt x="329" y="220"/>
                    <a:pt x="328" y="219"/>
                    <a:pt x="328" y="219"/>
                  </a:cubicBezTo>
                  <a:cubicBezTo>
                    <a:pt x="327" y="219"/>
                    <a:pt x="327" y="218"/>
                    <a:pt x="326" y="217"/>
                  </a:cubicBezTo>
                  <a:cubicBezTo>
                    <a:pt x="325" y="217"/>
                    <a:pt x="323" y="217"/>
                    <a:pt x="322" y="217"/>
                  </a:cubicBezTo>
                  <a:cubicBezTo>
                    <a:pt x="320" y="217"/>
                    <a:pt x="318" y="218"/>
                    <a:pt x="316" y="219"/>
                  </a:cubicBezTo>
                  <a:cubicBezTo>
                    <a:pt x="316" y="219"/>
                    <a:pt x="315" y="219"/>
                    <a:pt x="315" y="220"/>
                  </a:cubicBezTo>
                  <a:cubicBezTo>
                    <a:pt x="315" y="220"/>
                    <a:pt x="315" y="220"/>
                    <a:pt x="314" y="220"/>
                  </a:cubicBezTo>
                  <a:cubicBezTo>
                    <a:pt x="314" y="220"/>
                    <a:pt x="314" y="220"/>
                    <a:pt x="313" y="220"/>
                  </a:cubicBezTo>
                  <a:cubicBezTo>
                    <a:pt x="313" y="220"/>
                    <a:pt x="312" y="220"/>
                    <a:pt x="312" y="220"/>
                  </a:cubicBezTo>
                  <a:cubicBezTo>
                    <a:pt x="310" y="220"/>
                    <a:pt x="308" y="220"/>
                    <a:pt x="307" y="221"/>
                  </a:cubicBezTo>
                  <a:cubicBezTo>
                    <a:pt x="304" y="224"/>
                    <a:pt x="305" y="228"/>
                    <a:pt x="305" y="230"/>
                  </a:cubicBezTo>
                  <a:cubicBezTo>
                    <a:pt x="305" y="231"/>
                    <a:pt x="305" y="231"/>
                    <a:pt x="305" y="231"/>
                  </a:cubicBezTo>
                  <a:cubicBezTo>
                    <a:pt x="306" y="233"/>
                    <a:pt x="306" y="238"/>
                    <a:pt x="310" y="240"/>
                  </a:cubicBezTo>
                  <a:cubicBezTo>
                    <a:pt x="312" y="241"/>
                    <a:pt x="313" y="242"/>
                    <a:pt x="315" y="242"/>
                  </a:cubicBezTo>
                  <a:cubicBezTo>
                    <a:pt x="317" y="242"/>
                    <a:pt x="319" y="241"/>
                    <a:pt x="320" y="241"/>
                  </a:cubicBezTo>
                  <a:cubicBezTo>
                    <a:pt x="321" y="241"/>
                    <a:pt x="321" y="241"/>
                    <a:pt x="321" y="241"/>
                  </a:cubicBezTo>
                  <a:cubicBezTo>
                    <a:pt x="322" y="241"/>
                    <a:pt x="322" y="241"/>
                    <a:pt x="322" y="241"/>
                  </a:cubicBezTo>
                  <a:cubicBezTo>
                    <a:pt x="322" y="241"/>
                    <a:pt x="322" y="241"/>
                    <a:pt x="322" y="241"/>
                  </a:cubicBezTo>
                  <a:cubicBezTo>
                    <a:pt x="322" y="241"/>
                    <a:pt x="322" y="242"/>
                    <a:pt x="322" y="242"/>
                  </a:cubicBezTo>
                  <a:cubicBezTo>
                    <a:pt x="323" y="243"/>
                    <a:pt x="323" y="244"/>
                    <a:pt x="324" y="246"/>
                  </a:cubicBezTo>
                  <a:cubicBezTo>
                    <a:pt x="324" y="247"/>
                    <a:pt x="324" y="247"/>
                    <a:pt x="324" y="248"/>
                  </a:cubicBezTo>
                  <a:cubicBezTo>
                    <a:pt x="324" y="249"/>
                    <a:pt x="322" y="250"/>
                    <a:pt x="321" y="250"/>
                  </a:cubicBezTo>
                  <a:cubicBezTo>
                    <a:pt x="320" y="250"/>
                    <a:pt x="320" y="250"/>
                    <a:pt x="320" y="250"/>
                  </a:cubicBezTo>
                  <a:cubicBezTo>
                    <a:pt x="319" y="249"/>
                    <a:pt x="318" y="248"/>
                    <a:pt x="317" y="247"/>
                  </a:cubicBezTo>
                  <a:cubicBezTo>
                    <a:pt x="317" y="246"/>
                    <a:pt x="316" y="244"/>
                    <a:pt x="314" y="243"/>
                  </a:cubicBezTo>
                  <a:cubicBezTo>
                    <a:pt x="313" y="242"/>
                    <a:pt x="310" y="241"/>
                    <a:pt x="308" y="241"/>
                  </a:cubicBezTo>
                  <a:cubicBezTo>
                    <a:pt x="305" y="241"/>
                    <a:pt x="303" y="242"/>
                    <a:pt x="301" y="243"/>
                  </a:cubicBezTo>
                  <a:cubicBezTo>
                    <a:pt x="300" y="243"/>
                    <a:pt x="300" y="243"/>
                    <a:pt x="300" y="243"/>
                  </a:cubicBezTo>
                  <a:cubicBezTo>
                    <a:pt x="299" y="243"/>
                    <a:pt x="299" y="244"/>
                    <a:pt x="298" y="244"/>
                  </a:cubicBezTo>
                  <a:cubicBezTo>
                    <a:pt x="298" y="244"/>
                    <a:pt x="298" y="244"/>
                    <a:pt x="298" y="244"/>
                  </a:cubicBezTo>
                  <a:cubicBezTo>
                    <a:pt x="297" y="243"/>
                    <a:pt x="297" y="242"/>
                    <a:pt x="296" y="242"/>
                  </a:cubicBezTo>
                  <a:cubicBezTo>
                    <a:pt x="295" y="241"/>
                    <a:pt x="294" y="240"/>
                    <a:pt x="293" y="239"/>
                  </a:cubicBezTo>
                  <a:cubicBezTo>
                    <a:pt x="291" y="238"/>
                    <a:pt x="290" y="238"/>
                    <a:pt x="289" y="238"/>
                  </a:cubicBezTo>
                  <a:cubicBezTo>
                    <a:pt x="288" y="238"/>
                    <a:pt x="288" y="238"/>
                    <a:pt x="288" y="238"/>
                  </a:cubicBezTo>
                  <a:cubicBezTo>
                    <a:pt x="287" y="238"/>
                    <a:pt x="287" y="238"/>
                    <a:pt x="287" y="238"/>
                  </a:cubicBezTo>
                  <a:cubicBezTo>
                    <a:pt x="286" y="238"/>
                    <a:pt x="285" y="237"/>
                    <a:pt x="284" y="237"/>
                  </a:cubicBezTo>
                  <a:cubicBezTo>
                    <a:pt x="282" y="236"/>
                    <a:pt x="281" y="236"/>
                    <a:pt x="279" y="236"/>
                  </a:cubicBezTo>
                  <a:cubicBezTo>
                    <a:pt x="278" y="236"/>
                    <a:pt x="278" y="236"/>
                    <a:pt x="277" y="236"/>
                  </a:cubicBezTo>
                  <a:cubicBezTo>
                    <a:pt x="274" y="236"/>
                    <a:pt x="271" y="236"/>
                    <a:pt x="269" y="237"/>
                  </a:cubicBezTo>
                  <a:cubicBezTo>
                    <a:pt x="268" y="237"/>
                    <a:pt x="267" y="237"/>
                    <a:pt x="267" y="237"/>
                  </a:cubicBezTo>
                  <a:cubicBezTo>
                    <a:pt x="265" y="238"/>
                    <a:pt x="264" y="238"/>
                    <a:pt x="262" y="238"/>
                  </a:cubicBezTo>
                  <a:cubicBezTo>
                    <a:pt x="262" y="238"/>
                    <a:pt x="261" y="238"/>
                    <a:pt x="261" y="237"/>
                  </a:cubicBezTo>
                  <a:cubicBezTo>
                    <a:pt x="260" y="236"/>
                    <a:pt x="260" y="236"/>
                    <a:pt x="258" y="235"/>
                  </a:cubicBezTo>
                  <a:cubicBezTo>
                    <a:pt x="257" y="234"/>
                    <a:pt x="256" y="234"/>
                    <a:pt x="255" y="234"/>
                  </a:cubicBezTo>
                  <a:cubicBezTo>
                    <a:pt x="254" y="234"/>
                    <a:pt x="254" y="234"/>
                    <a:pt x="254" y="234"/>
                  </a:cubicBezTo>
                  <a:cubicBezTo>
                    <a:pt x="254" y="237"/>
                    <a:pt x="254" y="237"/>
                    <a:pt x="254" y="237"/>
                  </a:cubicBezTo>
                  <a:cubicBezTo>
                    <a:pt x="254" y="234"/>
                    <a:pt x="254" y="234"/>
                    <a:pt x="254" y="234"/>
                  </a:cubicBezTo>
                  <a:cubicBezTo>
                    <a:pt x="252" y="234"/>
                    <a:pt x="251" y="234"/>
                    <a:pt x="250" y="232"/>
                  </a:cubicBezTo>
                  <a:cubicBezTo>
                    <a:pt x="249" y="231"/>
                    <a:pt x="249" y="231"/>
                    <a:pt x="248" y="230"/>
                  </a:cubicBezTo>
                  <a:cubicBezTo>
                    <a:pt x="247" y="230"/>
                    <a:pt x="247" y="229"/>
                    <a:pt x="246" y="229"/>
                  </a:cubicBezTo>
                  <a:cubicBezTo>
                    <a:pt x="246" y="229"/>
                    <a:pt x="246" y="229"/>
                    <a:pt x="246" y="229"/>
                  </a:cubicBezTo>
                  <a:cubicBezTo>
                    <a:pt x="246" y="228"/>
                    <a:pt x="245" y="227"/>
                    <a:pt x="245" y="227"/>
                  </a:cubicBezTo>
                  <a:cubicBezTo>
                    <a:pt x="244" y="226"/>
                    <a:pt x="244" y="226"/>
                    <a:pt x="244" y="226"/>
                  </a:cubicBezTo>
                  <a:cubicBezTo>
                    <a:pt x="243" y="222"/>
                    <a:pt x="241" y="218"/>
                    <a:pt x="236" y="218"/>
                  </a:cubicBezTo>
                  <a:cubicBezTo>
                    <a:pt x="235" y="218"/>
                    <a:pt x="235" y="218"/>
                    <a:pt x="234" y="218"/>
                  </a:cubicBezTo>
                  <a:cubicBezTo>
                    <a:pt x="233" y="218"/>
                    <a:pt x="231" y="219"/>
                    <a:pt x="229" y="219"/>
                  </a:cubicBezTo>
                  <a:cubicBezTo>
                    <a:pt x="228" y="219"/>
                    <a:pt x="227" y="218"/>
                    <a:pt x="227" y="218"/>
                  </a:cubicBezTo>
                  <a:cubicBezTo>
                    <a:pt x="226" y="218"/>
                    <a:pt x="225" y="215"/>
                    <a:pt x="225" y="214"/>
                  </a:cubicBezTo>
                  <a:cubicBezTo>
                    <a:pt x="225" y="213"/>
                    <a:pt x="225" y="213"/>
                    <a:pt x="225" y="213"/>
                  </a:cubicBezTo>
                  <a:cubicBezTo>
                    <a:pt x="224" y="211"/>
                    <a:pt x="223" y="209"/>
                    <a:pt x="222" y="207"/>
                  </a:cubicBezTo>
                  <a:cubicBezTo>
                    <a:pt x="220" y="205"/>
                    <a:pt x="218" y="205"/>
                    <a:pt x="217" y="205"/>
                  </a:cubicBezTo>
                  <a:cubicBezTo>
                    <a:pt x="217" y="205"/>
                    <a:pt x="217" y="204"/>
                    <a:pt x="217" y="204"/>
                  </a:cubicBezTo>
                  <a:cubicBezTo>
                    <a:pt x="217" y="204"/>
                    <a:pt x="217" y="202"/>
                    <a:pt x="217" y="201"/>
                  </a:cubicBezTo>
                  <a:cubicBezTo>
                    <a:pt x="217" y="201"/>
                    <a:pt x="217" y="201"/>
                    <a:pt x="217" y="201"/>
                  </a:cubicBezTo>
                  <a:cubicBezTo>
                    <a:pt x="217" y="199"/>
                    <a:pt x="217" y="198"/>
                    <a:pt x="218" y="197"/>
                  </a:cubicBezTo>
                  <a:cubicBezTo>
                    <a:pt x="218" y="194"/>
                    <a:pt x="219" y="190"/>
                    <a:pt x="217" y="185"/>
                  </a:cubicBezTo>
                  <a:cubicBezTo>
                    <a:pt x="216" y="184"/>
                    <a:pt x="214" y="179"/>
                    <a:pt x="208" y="179"/>
                  </a:cubicBezTo>
                  <a:cubicBezTo>
                    <a:pt x="207" y="179"/>
                    <a:pt x="206" y="179"/>
                    <a:pt x="205" y="179"/>
                  </a:cubicBezTo>
                  <a:cubicBezTo>
                    <a:pt x="203" y="179"/>
                    <a:pt x="200" y="179"/>
                    <a:pt x="197" y="179"/>
                  </a:cubicBezTo>
                  <a:cubicBezTo>
                    <a:pt x="194" y="180"/>
                    <a:pt x="193" y="180"/>
                    <a:pt x="191" y="182"/>
                  </a:cubicBezTo>
                  <a:cubicBezTo>
                    <a:pt x="190" y="182"/>
                    <a:pt x="189" y="182"/>
                    <a:pt x="188" y="182"/>
                  </a:cubicBezTo>
                  <a:cubicBezTo>
                    <a:pt x="187" y="182"/>
                    <a:pt x="185" y="182"/>
                    <a:pt x="184" y="182"/>
                  </a:cubicBezTo>
                  <a:cubicBezTo>
                    <a:pt x="182" y="181"/>
                    <a:pt x="180" y="181"/>
                    <a:pt x="179" y="181"/>
                  </a:cubicBezTo>
                  <a:cubicBezTo>
                    <a:pt x="178" y="181"/>
                    <a:pt x="177" y="181"/>
                    <a:pt x="176" y="181"/>
                  </a:cubicBezTo>
                  <a:cubicBezTo>
                    <a:pt x="176" y="181"/>
                    <a:pt x="174" y="182"/>
                    <a:pt x="173" y="183"/>
                  </a:cubicBezTo>
                  <a:cubicBezTo>
                    <a:pt x="172" y="184"/>
                    <a:pt x="172" y="184"/>
                    <a:pt x="171" y="185"/>
                  </a:cubicBezTo>
                  <a:cubicBezTo>
                    <a:pt x="171" y="185"/>
                    <a:pt x="171" y="185"/>
                    <a:pt x="170" y="185"/>
                  </a:cubicBezTo>
                  <a:cubicBezTo>
                    <a:pt x="168" y="186"/>
                    <a:pt x="166" y="187"/>
                    <a:pt x="165" y="190"/>
                  </a:cubicBezTo>
                  <a:cubicBezTo>
                    <a:pt x="163" y="194"/>
                    <a:pt x="166" y="199"/>
                    <a:pt x="167" y="200"/>
                  </a:cubicBezTo>
                  <a:cubicBezTo>
                    <a:pt x="167" y="201"/>
                    <a:pt x="167" y="201"/>
                    <a:pt x="167" y="201"/>
                  </a:cubicBezTo>
                  <a:cubicBezTo>
                    <a:pt x="168" y="202"/>
                    <a:pt x="170" y="204"/>
                    <a:pt x="171" y="205"/>
                  </a:cubicBezTo>
                  <a:cubicBezTo>
                    <a:pt x="172" y="205"/>
                    <a:pt x="174" y="205"/>
                    <a:pt x="175" y="205"/>
                  </a:cubicBezTo>
                  <a:cubicBezTo>
                    <a:pt x="178" y="205"/>
                    <a:pt x="180" y="204"/>
                    <a:pt x="181" y="201"/>
                  </a:cubicBezTo>
                  <a:cubicBezTo>
                    <a:pt x="181" y="201"/>
                    <a:pt x="182" y="199"/>
                    <a:pt x="183" y="199"/>
                  </a:cubicBezTo>
                  <a:cubicBezTo>
                    <a:pt x="183" y="199"/>
                    <a:pt x="183" y="199"/>
                    <a:pt x="183" y="199"/>
                  </a:cubicBezTo>
                  <a:cubicBezTo>
                    <a:pt x="183" y="200"/>
                    <a:pt x="184" y="203"/>
                    <a:pt x="188" y="204"/>
                  </a:cubicBezTo>
                  <a:cubicBezTo>
                    <a:pt x="191" y="204"/>
                    <a:pt x="194" y="202"/>
                    <a:pt x="196" y="200"/>
                  </a:cubicBezTo>
                  <a:cubicBezTo>
                    <a:pt x="197" y="200"/>
                    <a:pt x="198" y="199"/>
                    <a:pt x="199" y="199"/>
                  </a:cubicBezTo>
                  <a:cubicBezTo>
                    <a:pt x="201" y="198"/>
                    <a:pt x="203" y="197"/>
                    <a:pt x="205" y="197"/>
                  </a:cubicBezTo>
                  <a:cubicBezTo>
                    <a:pt x="205" y="196"/>
                    <a:pt x="206" y="196"/>
                    <a:pt x="207" y="196"/>
                  </a:cubicBezTo>
                  <a:cubicBezTo>
                    <a:pt x="207" y="196"/>
                    <a:pt x="207" y="196"/>
                    <a:pt x="207" y="196"/>
                  </a:cubicBezTo>
                  <a:cubicBezTo>
                    <a:pt x="207" y="198"/>
                    <a:pt x="201" y="200"/>
                    <a:pt x="198" y="202"/>
                  </a:cubicBezTo>
                  <a:cubicBezTo>
                    <a:pt x="197" y="202"/>
                    <a:pt x="196" y="203"/>
                    <a:pt x="196" y="203"/>
                  </a:cubicBezTo>
                  <a:cubicBezTo>
                    <a:pt x="193" y="204"/>
                    <a:pt x="190" y="205"/>
                    <a:pt x="187" y="205"/>
                  </a:cubicBezTo>
                  <a:cubicBezTo>
                    <a:pt x="183" y="205"/>
                    <a:pt x="179" y="206"/>
                    <a:pt x="176" y="208"/>
                  </a:cubicBezTo>
                  <a:cubicBezTo>
                    <a:pt x="166" y="213"/>
                    <a:pt x="168" y="219"/>
                    <a:pt x="169" y="224"/>
                  </a:cubicBezTo>
                  <a:cubicBezTo>
                    <a:pt x="170" y="226"/>
                    <a:pt x="170" y="228"/>
                    <a:pt x="170" y="230"/>
                  </a:cubicBezTo>
                  <a:cubicBezTo>
                    <a:pt x="171" y="231"/>
                    <a:pt x="171" y="233"/>
                    <a:pt x="170" y="235"/>
                  </a:cubicBezTo>
                  <a:cubicBezTo>
                    <a:pt x="170" y="236"/>
                    <a:pt x="170" y="238"/>
                    <a:pt x="170" y="241"/>
                  </a:cubicBezTo>
                  <a:cubicBezTo>
                    <a:pt x="170" y="242"/>
                    <a:pt x="170" y="243"/>
                    <a:pt x="171" y="244"/>
                  </a:cubicBezTo>
                  <a:cubicBezTo>
                    <a:pt x="171" y="246"/>
                    <a:pt x="172" y="248"/>
                    <a:pt x="171" y="249"/>
                  </a:cubicBezTo>
                  <a:cubicBezTo>
                    <a:pt x="171" y="250"/>
                    <a:pt x="168" y="250"/>
                    <a:pt x="166" y="250"/>
                  </a:cubicBezTo>
                  <a:cubicBezTo>
                    <a:pt x="164" y="250"/>
                    <a:pt x="163" y="250"/>
                    <a:pt x="163" y="250"/>
                  </a:cubicBezTo>
                  <a:cubicBezTo>
                    <a:pt x="163" y="250"/>
                    <a:pt x="162" y="249"/>
                    <a:pt x="162" y="247"/>
                  </a:cubicBezTo>
                  <a:cubicBezTo>
                    <a:pt x="162" y="246"/>
                    <a:pt x="162" y="245"/>
                    <a:pt x="162" y="244"/>
                  </a:cubicBezTo>
                  <a:cubicBezTo>
                    <a:pt x="163" y="244"/>
                    <a:pt x="163" y="244"/>
                    <a:pt x="164" y="243"/>
                  </a:cubicBezTo>
                  <a:cubicBezTo>
                    <a:pt x="167" y="242"/>
                    <a:pt x="169" y="237"/>
                    <a:pt x="168" y="233"/>
                  </a:cubicBezTo>
                  <a:cubicBezTo>
                    <a:pt x="168" y="230"/>
                    <a:pt x="166" y="227"/>
                    <a:pt x="164" y="226"/>
                  </a:cubicBezTo>
                  <a:cubicBezTo>
                    <a:pt x="162" y="225"/>
                    <a:pt x="160" y="225"/>
                    <a:pt x="159" y="225"/>
                  </a:cubicBezTo>
                  <a:cubicBezTo>
                    <a:pt x="158" y="224"/>
                    <a:pt x="158" y="224"/>
                    <a:pt x="158" y="224"/>
                  </a:cubicBezTo>
                  <a:cubicBezTo>
                    <a:pt x="157" y="224"/>
                    <a:pt x="158" y="221"/>
                    <a:pt x="158" y="220"/>
                  </a:cubicBezTo>
                  <a:cubicBezTo>
                    <a:pt x="158" y="218"/>
                    <a:pt x="159" y="216"/>
                    <a:pt x="158" y="214"/>
                  </a:cubicBezTo>
                  <a:cubicBezTo>
                    <a:pt x="157" y="210"/>
                    <a:pt x="154" y="209"/>
                    <a:pt x="152" y="209"/>
                  </a:cubicBezTo>
                  <a:cubicBezTo>
                    <a:pt x="151" y="209"/>
                    <a:pt x="150" y="207"/>
                    <a:pt x="149" y="207"/>
                  </a:cubicBezTo>
                  <a:cubicBezTo>
                    <a:pt x="149" y="206"/>
                    <a:pt x="149" y="205"/>
                    <a:pt x="149" y="204"/>
                  </a:cubicBezTo>
                  <a:cubicBezTo>
                    <a:pt x="149" y="202"/>
                    <a:pt x="149" y="198"/>
                    <a:pt x="146" y="196"/>
                  </a:cubicBezTo>
                  <a:cubicBezTo>
                    <a:pt x="145" y="196"/>
                    <a:pt x="144" y="196"/>
                    <a:pt x="143" y="196"/>
                  </a:cubicBezTo>
                  <a:cubicBezTo>
                    <a:pt x="143" y="196"/>
                    <a:pt x="143" y="196"/>
                    <a:pt x="142" y="196"/>
                  </a:cubicBezTo>
                  <a:cubicBezTo>
                    <a:pt x="141" y="196"/>
                    <a:pt x="141" y="196"/>
                    <a:pt x="140" y="196"/>
                  </a:cubicBezTo>
                  <a:cubicBezTo>
                    <a:pt x="138" y="196"/>
                    <a:pt x="137" y="196"/>
                    <a:pt x="136" y="196"/>
                  </a:cubicBezTo>
                  <a:cubicBezTo>
                    <a:pt x="135" y="197"/>
                    <a:pt x="135" y="197"/>
                    <a:pt x="135" y="197"/>
                  </a:cubicBezTo>
                  <a:cubicBezTo>
                    <a:pt x="134" y="198"/>
                    <a:pt x="133" y="198"/>
                    <a:pt x="132" y="198"/>
                  </a:cubicBezTo>
                  <a:cubicBezTo>
                    <a:pt x="131" y="198"/>
                    <a:pt x="131" y="198"/>
                    <a:pt x="130" y="198"/>
                  </a:cubicBezTo>
                  <a:cubicBezTo>
                    <a:pt x="127" y="198"/>
                    <a:pt x="124" y="197"/>
                    <a:pt x="121" y="197"/>
                  </a:cubicBezTo>
                  <a:cubicBezTo>
                    <a:pt x="120" y="197"/>
                    <a:pt x="120" y="196"/>
                    <a:pt x="119" y="196"/>
                  </a:cubicBezTo>
                  <a:cubicBezTo>
                    <a:pt x="118" y="196"/>
                    <a:pt x="116" y="196"/>
                    <a:pt x="115" y="195"/>
                  </a:cubicBezTo>
                  <a:cubicBezTo>
                    <a:pt x="113" y="195"/>
                    <a:pt x="113" y="195"/>
                    <a:pt x="113" y="195"/>
                  </a:cubicBezTo>
                  <a:cubicBezTo>
                    <a:pt x="112" y="195"/>
                    <a:pt x="110" y="195"/>
                    <a:pt x="109" y="194"/>
                  </a:cubicBezTo>
                  <a:cubicBezTo>
                    <a:pt x="108" y="194"/>
                    <a:pt x="106" y="194"/>
                    <a:pt x="105" y="193"/>
                  </a:cubicBezTo>
                  <a:cubicBezTo>
                    <a:pt x="103" y="193"/>
                    <a:pt x="101" y="192"/>
                    <a:pt x="99" y="191"/>
                  </a:cubicBezTo>
                  <a:cubicBezTo>
                    <a:pt x="98" y="191"/>
                    <a:pt x="98" y="191"/>
                    <a:pt x="98" y="191"/>
                  </a:cubicBezTo>
                  <a:cubicBezTo>
                    <a:pt x="97" y="191"/>
                    <a:pt x="97" y="191"/>
                    <a:pt x="96" y="191"/>
                  </a:cubicBezTo>
                  <a:cubicBezTo>
                    <a:pt x="96" y="190"/>
                    <a:pt x="96" y="190"/>
                    <a:pt x="96" y="190"/>
                  </a:cubicBezTo>
                  <a:cubicBezTo>
                    <a:pt x="95" y="189"/>
                    <a:pt x="95" y="188"/>
                    <a:pt x="93" y="187"/>
                  </a:cubicBezTo>
                  <a:cubicBezTo>
                    <a:pt x="92" y="186"/>
                    <a:pt x="92" y="186"/>
                    <a:pt x="91" y="186"/>
                  </a:cubicBezTo>
                  <a:cubicBezTo>
                    <a:pt x="91" y="186"/>
                    <a:pt x="90" y="186"/>
                    <a:pt x="90" y="185"/>
                  </a:cubicBezTo>
                  <a:cubicBezTo>
                    <a:pt x="89" y="185"/>
                    <a:pt x="89" y="185"/>
                    <a:pt x="88" y="184"/>
                  </a:cubicBezTo>
                  <a:cubicBezTo>
                    <a:pt x="88" y="184"/>
                    <a:pt x="87" y="183"/>
                    <a:pt x="86" y="182"/>
                  </a:cubicBezTo>
                  <a:cubicBezTo>
                    <a:pt x="84" y="182"/>
                    <a:pt x="83" y="181"/>
                    <a:pt x="81" y="181"/>
                  </a:cubicBezTo>
                  <a:cubicBezTo>
                    <a:pt x="81" y="180"/>
                    <a:pt x="81" y="180"/>
                    <a:pt x="81" y="180"/>
                  </a:cubicBezTo>
                  <a:cubicBezTo>
                    <a:pt x="78" y="179"/>
                    <a:pt x="76" y="178"/>
                    <a:pt x="75" y="177"/>
                  </a:cubicBezTo>
                  <a:cubicBezTo>
                    <a:pt x="78" y="176"/>
                    <a:pt x="79" y="173"/>
                    <a:pt x="79" y="172"/>
                  </a:cubicBezTo>
                  <a:cubicBezTo>
                    <a:pt x="80" y="171"/>
                    <a:pt x="80" y="171"/>
                    <a:pt x="82" y="170"/>
                  </a:cubicBezTo>
                  <a:cubicBezTo>
                    <a:pt x="84" y="170"/>
                    <a:pt x="85" y="170"/>
                    <a:pt x="87" y="170"/>
                  </a:cubicBezTo>
                  <a:cubicBezTo>
                    <a:pt x="89" y="170"/>
                    <a:pt x="91" y="170"/>
                    <a:pt x="92" y="171"/>
                  </a:cubicBezTo>
                  <a:cubicBezTo>
                    <a:pt x="93" y="171"/>
                    <a:pt x="93" y="171"/>
                    <a:pt x="94" y="171"/>
                  </a:cubicBezTo>
                  <a:cubicBezTo>
                    <a:pt x="97" y="171"/>
                    <a:pt x="100" y="169"/>
                    <a:pt x="101" y="166"/>
                  </a:cubicBezTo>
                  <a:cubicBezTo>
                    <a:pt x="103" y="164"/>
                    <a:pt x="102" y="161"/>
                    <a:pt x="101" y="159"/>
                  </a:cubicBezTo>
                  <a:cubicBezTo>
                    <a:pt x="100" y="159"/>
                    <a:pt x="100" y="158"/>
                    <a:pt x="100" y="158"/>
                  </a:cubicBezTo>
                  <a:cubicBezTo>
                    <a:pt x="100" y="154"/>
                    <a:pt x="98" y="150"/>
                    <a:pt x="96" y="148"/>
                  </a:cubicBezTo>
                  <a:cubicBezTo>
                    <a:pt x="95" y="147"/>
                    <a:pt x="95" y="145"/>
                    <a:pt x="94" y="144"/>
                  </a:cubicBezTo>
                  <a:cubicBezTo>
                    <a:pt x="94" y="143"/>
                    <a:pt x="94" y="143"/>
                    <a:pt x="94" y="143"/>
                  </a:cubicBezTo>
                  <a:cubicBezTo>
                    <a:pt x="93" y="141"/>
                    <a:pt x="90" y="134"/>
                    <a:pt x="85" y="132"/>
                  </a:cubicBezTo>
                  <a:cubicBezTo>
                    <a:pt x="84" y="131"/>
                    <a:pt x="82" y="131"/>
                    <a:pt x="81" y="131"/>
                  </a:cubicBezTo>
                  <a:cubicBezTo>
                    <a:pt x="79" y="131"/>
                    <a:pt x="77" y="131"/>
                    <a:pt x="76" y="131"/>
                  </a:cubicBezTo>
                  <a:cubicBezTo>
                    <a:pt x="75" y="132"/>
                    <a:pt x="75" y="132"/>
                    <a:pt x="75" y="132"/>
                  </a:cubicBezTo>
                  <a:cubicBezTo>
                    <a:pt x="74" y="132"/>
                    <a:pt x="73" y="131"/>
                    <a:pt x="72" y="130"/>
                  </a:cubicBezTo>
                  <a:cubicBezTo>
                    <a:pt x="71" y="129"/>
                    <a:pt x="71" y="129"/>
                    <a:pt x="71" y="129"/>
                  </a:cubicBezTo>
                  <a:cubicBezTo>
                    <a:pt x="70" y="128"/>
                    <a:pt x="68" y="127"/>
                    <a:pt x="67" y="126"/>
                  </a:cubicBezTo>
                  <a:cubicBezTo>
                    <a:pt x="65" y="124"/>
                    <a:pt x="63" y="123"/>
                    <a:pt x="61" y="121"/>
                  </a:cubicBezTo>
                  <a:cubicBezTo>
                    <a:pt x="59" y="118"/>
                    <a:pt x="57" y="116"/>
                    <a:pt x="56" y="113"/>
                  </a:cubicBezTo>
                  <a:cubicBezTo>
                    <a:pt x="55" y="110"/>
                    <a:pt x="53" y="106"/>
                    <a:pt x="49" y="102"/>
                  </a:cubicBezTo>
                  <a:cubicBezTo>
                    <a:pt x="46" y="100"/>
                    <a:pt x="44" y="99"/>
                    <a:pt x="42" y="98"/>
                  </a:cubicBezTo>
                  <a:cubicBezTo>
                    <a:pt x="41" y="97"/>
                    <a:pt x="41" y="97"/>
                    <a:pt x="41" y="97"/>
                  </a:cubicBezTo>
                  <a:cubicBezTo>
                    <a:pt x="40" y="97"/>
                    <a:pt x="40" y="96"/>
                    <a:pt x="39" y="95"/>
                  </a:cubicBezTo>
                  <a:cubicBezTo>
                    <a:pt x="39" y="94"/>
                    <a:pt x="39" y="94"/>
                    <a:pt x="39" y="94"/>
                  </a:cubicBezTo>
                  <a:cubicBezTo>
                    <a:pt x="37" y="91"/>
                    <a:pt x="35" y="89"/>
                    <a:pt x="34" y="86"/>
                  </a:cubicBezTo>
                  <a:cubicBezTo>
                    <a:pt x="32" y="80"/>
                    <a:pt x="32" y="80"/>
                    <a:pt x="32" y="80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63" y="257"/>
                    <a:pt x="63" y="257"/>
                    <a:pt x="63" y="257"/>
                  </a:cubicBezTo>
                  <a:cubicBezTo>
                    <a:pt x="74" y="287"/>
                    <a:pt x="101" y="288"/>
                    <a:pt x="103" y="288"/>
                  </a:cubicBezTo>
                  <a:cubicBezTo>
                    <a:pt x="115" y="319"/>
                    <a:pt x="115" y="319"/>
                    <a:pt x="115" y="319"/>
                  </a:cubicBezTo>
                  <a:cubicBezTo>
                    <a:pt x="228" y="374"/>
                    <a:pt x="228" y="374"/>
                    <a:pt x="228" y="374"/>
                  </a:cubicBezTo>
                  <a:cubicBezTo>
                    <a:pt x="224" y="384"/>
                    <a:pt x="215" y="434"/>
                    <a:pt x="200" y="526"/>
                  </a:cubicBezTo>
                  <a:cubicBezTo>
                    <a:pt x="199" y="529"/>
                    <a:pt x="199" y="529"/>
                    <a:pt x="199" y="529"/>
                  </a:cubicBezTo>
                  <a:cubicBezTo>
                    <a:pt x="339" y="547"/>
                    <a:pt x="339" y="547"/>
                    <a:pt x="339" y="547"/>
                  </a:cubicBezTo>
                  <a:cubicBezTo>
                    <a:pt x="339" y="545"/>
                    <a:pt x="339" y="545"/>
                    <a:pt x="339" y="545"/>
                  </a:cubicBezTo>
                  <a:cubicBezTo>
                    <a:pt x="340" y="543"/>
                    <a:pt x="340" y="541"/>
                    <a:pt x="341" y="540"/>
                  </a:cubicBezTo>
                  <a:cubicBezTo>
                    <a:pt x="341" y="538"/>
                    <a:pt x="342" y="537"/>
                    <a:pt x="342" y="535"/>
                  </a:cubicBezTo>
                  <a:cubicBezTo>
                    <a:pt x="342" y="535"/>
                    <a:pt x="343" y="534"/>
                    <a:pt x="343" y="534"/>
                  </a:cubicBezTo>
                  <a:cubicBezTo>
                    <a:pt x="343" y="533"/>
                    <a:pt x="343" y="533"/>
                    <a:pt x="343" y="532"/>
                  </a:cubicBezTo>
                  <a:cubicBezTo>
                    <a:pt x="343" y="531"/>
                    <a:pt x="344" y="531"/>
                    <a:pt x="344" y="530"/>
                  </a:cubicBezTo>
                  <a:cubicBezTo>
                    <a:pt x="345" y="529"/>
                    <a:pt x="346" y="528"/>
                    <a:pt x="346" y="526"/>
                  </a:cubicBezTo>
                  <a:cubicBezTo>
                    <a:pt x="347" y="525"/>
                    <a:pt x="348" y="524"/>
                    <a:pt x="348" y="522"/>
                  </a:cubicBezTo>
                  <a:cubicBezTo>
                    <a:pt x="349" y="519"/>
                    <a:pt x="351" y="516"/>
                    <a:pt x="353" y="514"/>
                  </a:cubicBezTo>
                  <a:cubicBezTo>
                    <a:pt x="353" y="514"/>
                    <a:pt x="353" y="513"/>
                    <a:pt x="354" y="513"/>
                  </a:cubicBezTo>
                  <a:cubicBezTo>
                    <a:pt x="354" y="512"/>
                    <a:pt x="355" y="512"/>
                    <a:pt x="356" y="510"/>
                  </a:cubicBezTo>
                  <a:cubicBezTo>
                    <a:pt x="357" y="509"/>
                    <a:pt x="357" y="507"/>
                    <a:pt x="357" y="506"/>
                  </a:cubicBezTo>
                  <a:cubicBezTo>
                    <a:pt x="357" y="506"/>
                    <a:pt x="357" y="505"/>
                    <a:pt x="357" y="505"/>
                  </a:cubicBezTo>
                  <a:cubicBezTo>
                    <a:pt x="357" y="504"/>
                    <a:pt x="357" y="503"/>
                    <a:pt x="357" y="502"/>
                  </a:cubicBezTo>
                  <a:cubicBezTo>
                    <a:pt x="357" y="500"/>
                    <a:pt x="357" y="497"/>
                    <a:pt x="358" y="496"/>
                  </a:cubicBezTo>
                  <a:cubicBezTo>
                    <a:pt x="360" y="494"/>
                    <a:pt x="362" y="492"/>
                    <a:pt x="364" y="490"/>
                  </a:cubicBezTo>
                  <a:cubicBezTo>
                    <a:pt x="366" y="487"/>
                    <a:pt x="366" y="487"/>
                    <a:pt x="366" y="487"/>
                  </a:cubicBezTo>
                  <a:cubicBezTo>
                    <a:pt x="368" y="485"/>
                    <a:pt x="370" y="484"/>
                    <a:pt x="370" y="480"/>
                  </a:cubicBezTo>
                  <a:cubicBezTo>
                    <a:pt x="370" y="479"/>
                    <a:pt x="370" y="478"/>
                    <a:pt x="370" y="477"/>
                  </a:cubicBezTo>
                  <a:cubicBezTo>
                    <a:pt x="370" y="477"/>
                    <a:pt x="370" y="477"/>
                    <a:pt x="370" y="476"/>
                  </a:cubicBezTo>
                  <a:cubicBezTo>
                    <a:pt x="370" y="476"/>
                    <a:pt x="370" y="476"/>
                    <a:pt x="371" y="476"/>
                  </a:cubicBezTo>
                  <a:cubicBezTo>
                    <a:pt x="372" y="476"/>
                    <a:pt x="374" y="475"/>
                    <a:pt x="375" y="473"/>
                  </a:cubicBezTo>
                  <a:cubicBezTo>
                    <a:pt x="376" y="472"/>
                    <a:pt x="376" y="471"/>
                    <a:pt x="376" y="469"/>
                  </a:cubicBezTo>
                  <a:cubicBezTo>
                    <a:pt x="376" y="469"/>
                    <a:pt x="377" y="468"/>
                    <a:pt x="377" y="468"/>
                  </a:cubicBezTo>
                  <a:cubicBezTo>
                    <a:pt x="377" y="468"/>
                    <a:pt x="378" y="467"/>
                    <a:pt x="378" y="467"/>
                  </a:cubicBezTo>
                  <a:cubicBezTo>
                    <a:pt x="379" y="466"/>
                    <a:pt x="380" y="465"/>
                    <a:pt x="381" y="463"/>
                  </a:cubicBezTo>
                  <a:cubicBezTo>
                    <a:pt x="382" y="462"/>
                    <a:pt x="382" y="462"/>
                    <a:pt x="382" y="461"/>
                  </a:cubicBezTo>
                  <a:cubicBezTo>
                    <a:pt x="383" y="460"/>
                    <a:pt x="383" y="459"/>
                    <a:pt x="385" y="457"/>
                  </a:cubicBezTo>
                  <a:cubicBezTo>
                    <a:pt x="385" y="457"/>
                    <a:pt x="385" y="457"/>
                    <a:pt x="386" y="456"/>
                  </a:cubicBezTo>
                  <a:cubicBezTo>
                    <a:pt x="387" y="456"/>
                    <a:pt x="388" y="455"/>
                    <a:pt x="388" y="453"/>
                  </a:cubicBezTo>
                  <a:cubicBezTo>
                    <a:pt x="389" y="454"/>
                    <a:pt x="391" y="454"/>
                    <a:pt x="392" y="454"/>
                  </a:cubicBezTo>
                  <a:cubicBezTo>
                    <a:pt x="394" y="454"/>
                    <a:pt x="396" y="453"/>
                    <a:pt x="396" y="449"/>
                  </a:cubicBezTo>
                  <a:cubicBezTo>
                    <a:pt x="396" y="448"/>
                    <a:pt x="396" y="448"/>
                    <a:pt x="396" y="447"/>
                  </a:cubicBezTo>
                  <a:cubicBezTo>
                    <a:pt x="397" y="447"/>
                    <a:pt x="397" y="447"/>
                    <a:pt x="398" y="447"/>
                  </a:cubicBezTo>
                  <a:cubicBezTo>
                    <a:pt x="398" y="447"/>
                    <a:pt x="399" y="447"/>
                    <a:pt x="399" y="447"/>
                  </a:cubicBezTo>
                  <a:cubicBezTo>
                    <a:pt x="401" y="448"/>
                    <a:pt x="402" y="448"/>
                    <a:pt x="403" y="448"/>
                  </a:cubicBezTo>
                  <a:cubicBezTo>
                    <a:pt x="405" y="448"/>
                    <a:pt x="407" y="447"/>
                    <a:pt x="408" y="446"/>
                  </a:cubicBezTo>
                  <a:cubicBezTo>
                    <a:pt x="409" y="445"/>
                    <a:pt x="409" y="444"/>
                    <a:pt x="410" y="443"/>
                  </a:cubicBezTo>
                  <a:cubicBezTo>
                    <a:pt x="410" y="443"/>
                    <a:pt x="410" y="443"/>
                    <a:pt x="410" y="443"/>
                  </a:cubicBezTo>
                  <a:cubicBezTo>
                    <a:pt x="411" y="442"/>
                    <a:pt x="411" y="442"/>
                    <a:pt x="412" y="442"/>
                  </a:cubicBezTo>
                  <a:cubicBezTo>
                    <a:pt x="413" y="441"/>
                    <a:pt x="413" y="441"/>
                    <a:pt x="413" y="441"/>
                  </a:cubicBezTo>
                  <a:cubicBezTo>
                    <a:pt x="415" y="440"/>
                    <a:pt x="418" y="438"/>
                    <a:pt x="418" y="434"/>
                  </a:cubicBezTo>
                  <a:cubicBezTo>
                    <a:pt x="419" y="431"/>
                    <a:pt x="419" y="428"/>
                    <a:pt x="418" y="426"/>
                  </a:cubicBezTo>
                  <a:cubicBezTo>
                    <a:pt x="417" y="423"/>
                    <a:pt x="416" y="420"/>
                    <a:pt x="414" y="418"/>
                  </a:cubicBezTo>
                  <a:cubicBezTo>
                    <a:pt x="414" y="418"/>
                    <a:pt x="414" y="418"/>
                    <a:pt x="415" y="418"/>
                  </a:cubicBezTo>
                  <a:cubicBezTo>
                    <a:pt x="415" y="418"/>
                    <a:pt x="415" y="418"/>
                    <a:pt x="415" y="418"/>
                  </a:cubicBezTo>
                  <a:cubicBezTo>
                    <a:pt x="419" y="418"/>
                    <a:pt x="424" y="416"/>
                    <a:pt x="427" y="413"/>
                  </a:cubicBezTo>
                  <a:cubicBezTo>
                    <a:pt x="428" y="411"/>
                    <a:pt x="429" y="408"/>
                    <a:pt x="430" y="405"/>
                  </a:cubicBezTo>
                  <a:cubicBezTo>
                    <a:pt x="431" y="399"/>
                    <a:pt x="432" y="397"/>
                    <a:pt x="434" y="397"/>
                  </a:cubicBezTo>
                  <a:cubicBezTo>
                    <a:pt x="435" y="397"/>
                    <a:pt x="435" y="397"/>
                    <a:pt x="435" y="397"/>
                  </a:cubicBezTo>
                  <a:cubicBezTo>
                    <a:pt x="437" y="397"/>
                    <a:pt x="438" y="398"/>
                    <a:pt x="441" y="399"/>
                  </a:cubicBezTo>
                  <a:cubicBezTo>
                    <a:pt x="443" y="400"/>
                    <a:pt x="446" y="401"/>
                    <a:pt x="449" y="401"/>
                  </a:cubicBezTo>
                  <a:cubicBezTo>
                    <a:pt x="451" y="401"/>
                    <a:pt x="452" y="401"/>
                    <a:pt x="453" y="400"/>
                  </a:cubicBezTo>
                  <a:cubicBezTo>
                    <a:pt x="461" y="398"/>
                    <a:pt x="464" y="391"/>
                    <a:pt x="466" y="385"/>
                  </a:cubicBezTo>
                  <a:cubicBezTo>
                    <a:pt x="468" y="380"/>
                    <a:pt x="471" y="375"/>
                    <a:pt x="474" y="370"/>
                  </a:cubicBezTo>
                  <a:cubicBezTo>
                    <a:pt x="474" y="369"/>
                    <a:pt x="474" y="369"/>
                    <a:pt x="474" y="369"/>
                  </a:cubicBezTo>
                  <a:cubicBezTo>
                    <a:pt x="476" y="367"/>
                    <a:pt x="478" y="364"/>
                    <a:pt x="479" y="360"/>
                  </a:cubicBezTo>
                  <a:cubicBezTo>
                    <a:pt x="479" y="359"/>
                    <a:pt x="480" y="358"/>
                    <a:pt x="480" y="357"/>
                  </a:cubicBezTo>
                  <a:cubicBezTo>
                    <a:pt x="480" y="356"/>
                    <a:pt x="480" y="356"/>
                    <a:pt x="480" y="355"/>
                  </a:cubicBezTo>
                  <a:cubicBezTo>
                    <a:pt x="480" y="355"/>
                    <a:pt x="480" y="355"/>
                    <a:pt x="480" y="355"/>
                  </a:cubicBezTo>
                  <a:cubicBezTo>
                    <a:pt x="480" y="353"/>
                    <a:pt x="481" y="351"/>
                    <a:pt x="479" y="349"/>
                  </a:cubicBezTo>
                  <a:cubicBezTo>
                    <a:pt x="478" y="348"/>
                    <a:pt x="478" y="347"/>
                    <a:pt x="477" y="347"/>
                  </a:cubicBezTo>
                  <a:cubicBezTo>
                    <a:pt x="478" y="346"/>
                    <a:pt x="478" y="345"/>
                    <a:pt x="479" y="343"/>
                  </a:cubicBezTo>
                  <a:cubicBezTo>
                    <a:pt x="479" y="343"/>
                    <a:pt x="479" y="342"/>
                    <a:pt x="479" y="342"/>
                  </a:cubicBezTo>
                  <a:cubicBezTo>
                    <a:pt x="479" y="341"/>
                    <a:pt x="479" y="341"/>
                    <a:pt x="480" y="340"/>
                  </a:cubicBezTo>
                  <a:cubicBezTo>
                    <a:pt x="482" y="339"/>
                    <a:pt x="484" y="337"/>
                    <a:pt x="486" y="335"/>
                  </a:cubicBezTo>
                  <a:cubicBezTo>
                    <a:pt x="487" y="333"/>
                    <a:pt x="488" y="331"/>
                    <a:pt x="488" y="328"/>
                  </a:cubicBezTo>
                  <a:cubicBezTo>
                    <a:pt x="488" y="327"/>
                    <a:pt x="488" y="326"/>
                    <a:pt x="489" y="325"/>
                  </a:cubicBezTo>
                  <a:cubicBezTo>
                    <a:pt x="489" y="324"/>
                    <a:pt x="490" y="324"/>
                    <a:pt x="491" y="323"/>
                  </a:cubicBezTo>
                  <a:cubicBezTo>
                    <a:pt x="493" y="322"/>
                    <a:pt x="495" y="320"/>
                    <a:pt x="496" y="316"/>
                  </a:cubicBezTo>
                  <a:cubicBezTo>
                    <a:pt x="496" y="313"/>
                    <a:pt x="495" y="310"/>
                    <a:pt x="492" y="309"/>
                  </a:cubicBezTo>
                  <a:cubicBezTo>
                    <a:pt x="491" y="308"/>
                    <a:pt x="490" y="308"/>
                    <a:pt x="489" y="308"/>
                  </a:cubicBezTo>
                  <a:cubicBezTo>
                    <a:pt x="488" y="308"/>
                    <a:pt x="488" y="308"/>
                    <a:pt x="487" y="307"/>
                  </a:cubicBezTo>
                  <a:cubicBezTo>
                    <a:pt x="486" y="307"/>
                    <a:pt x="485" y="306"/>
                    <a:pt x="484" y="305"/>
                  </a:cubicBezTo>
                  <a:cubicBezTo>
                    <a:pt x="482" y="303"/>
                    <a:pt x="482" y="302"/>
                    <a:pt x="482" y="302"/>
                  </a:cubicBezTo>
                  <a:cubicBezTo>
                    <a:pt x="483" y="302"/>
                    <a:pt x="485" y="302"/>
                    <a:pt x="486" y="302"/>
                  </a:cubicBezTo>
                  <a:cubicBezTo>
                    <a:pt x="487" y="302"/>
                    <a:pt x="487" y="302"/>
                    <a:pt x="487" y="302"/>
                  </a:cubicBezTo>
                  <a:cubicBezTo>
                    <a:pt x="488" y="302"/>
                    <a:pt x="489" y="302"/>
                    <a:pt x="490" y="302"/>
                  </a:cubicBezTo>
                  <a:cubicBezTo>
                    <a:pt x="491" y="302"/>
                    <a:pt x="492" y="301"/>
                    <a:pt x="493" y="301"/>
                  </a:cubicBezTo>
                  <a:cubicBezTo>
                    <a:pt x="495" y="301"/>
                    <a:pt x="496" y="300"/>
                    <a:pt x="498" y="300"/>
                  </a:cubicBezTo>
                  <a:cubicBezTo>
                    <a:pt x="499" y="305"/>
                    <a:pt x="502" y="312"/>
                    <a:pt x="509" y="313"/>
                  </a:cubicBezTo>
                  <a:cubicBezTo>
                    <a:pt x="510" y="313"/>
                    <a:pt x="510" y="313"/>
                    <a:pt x="510" y="313"/>
                  </a:cubicBezTo>
                  <a:cubicBezTo>
                    <a:pt x="510" y="313"/>
                    <a:pt x="511" y="313"/>
                    <a:pt x="511" y="313"/>
                  </a:cubicBezTo>
                  <a:cubicBezTo>
                    <a:pt x="513" y="313"/>
                    <a:pt x="514" y="313"/>
                    <a:pt x="516" y="311"/>
                  </a:cubicBezTo>
                  <a:cubicBezTo>
                    <a:pt x="517" y="310"/>
                    <a:pt x="517" y="309"/>
                    <a:pt x="517" y="308"/>
                  </a:cubicBezTo>
                  <a:cubicBezTo>
                    <a:pt x="517" y="308"/>
                    <a:pt x="517" y="308"/>
                    <a:pt x="517" y="308"/>
                  </a:cubicBezTo>
                  <a:cubicBezTo>
                    <a:pt x="518" y="308"/>
                    <a:pt x="519" y="309"/>
                    <a:pt x="520" y="309"/>
                  </a:cubicBezTo>
                  <a:cubicBezTo>
                    <a:pt x="521" y="309"/>
                    <a:pt x="521" y="309"/>
                    <a:pt x="522" y="309"/>
                  </a:cubicBezTo>
                  <a:cubicBezTo>
                    <a:pt x="523" y="308"/>
                    <a:pt x="525" y="307"/>
                    <a:pt x="526" y="305"/>
                  </a:cubicBezTo>
                  <a:cubicBezTo>
                    <a:pt x="526" y="304"/>
                    <a:pt x="526" y="304"/>
                    <a:pt x="526" y="303"/>
                  </a:cubicBezTo>
                  <a:cubicBezTo>
                    <a:pt x="527" y="304"/>
                    <a:pt x="528" y="304"/>
                    <a:pt x="528" y="304"/>
                  </a:cubicBezTo>
                  <a:cubicBezTo>
                    <a:pt x="529" y="305"/>
                    <a:pt x="530" y="305"/>
                    <a:pt x="531" y="305"/>
                  </a:cubicBezTo>
                  <a:cubicBezTo>
                    <a:pt x="535" y="305"/>
                    <a:pt x="537" y="301"/>
                    <a:pt x="538" y="299"/>
                  </a:cubicBezTo>
                  <a:cubicBezTo>
                    <a:pt x="539" y="298"/>
                    <a:pt x="539" y="297"/>
                    <a:pt x="540" y="297"/>
                  </a:cubicBezTo>
                  <a:cubicBezTo>
                    <a:pt x="541" y="296"/>
                    <a:pt x="541" y="295"/>
                    <a:pt x="542" y="294"/>
                  </a:cubicBezTo>
                  <a:cubicBezTo>
                    <a:pt x="542" y="293"/>
                    <a:pt x="543" y="293"/>
                    <a:pt x="543" y="292"/>
                  </a:cubicBezTo>
                  <a:cubicBezTo>
                    <a:pt x="544" y="292"/>
                    <a:pt x="545" y="291"/>
                    <a:pt x="545" y="291"/>
                  </a:cubicBezTo>
                  <a:cubicBezTo>
                    <a:pt x="547" y="290"/>
                    <a:pt x="549" y="289"/>
                    <a:pt x="550" y="286"/>
                  </a:cubicBezTo>
                  <a:cubicBezTo>
                    <a:pt x="551" y="285"/>
                    <a:pt x="551" y="284"/>
                    <a:pt x="552" y="283"/>
                  </a:cubicBezTo>
                  <a:cubicBezTo>
                    <a:pt x="552" y="281"/>
                    <a:pt x="552" y="280"/>
                    <a:pt x="553" y="280"/>
                  </a:cubicBezTo>
                  <a:cubicBezTo>
                    <a:pt x="553" y="279"/>
                    <a:pt x="554" y="279"/>
                    <a:pt x="555" y="278"/>
                  </a:cubicBezTo>
                  <a:cubicBezTo>
                    <a:pt x="556" y="278"/>
                    <a:pt x="558" y="277"/>
                    <a:pt x="559" y="276"/>
                  </a:cubicBezTo>
                  <a:cubicBezTo>
                    <a:pt x="562" y="272"/>
                    <a:pt x="562" y="268"/>
                    <a:pt x="561" y="264"/>
                  </a:cubicBezTo>
                  <a:cubicBezTo>
                    <a:pt x="561" y="263"/>
                    <a:pt x="561" y="262"/>
                    <a:pt x="561" y="261"/>
                  </a:cubicBezTo>
                  <a:cubicBezTo>
                    <a:pt x="561" y="261"/>
                    <a:pt x="561" y="260"/>
                    <a:pt x="561" y="260"/>
                  </a:cubicBezTo>
                  <a:cubicBezTo>
                    <a:pt x="562" y="259"/>
                    <a:pt x="562" y="257"/>
                    <a:pt x="561" y="255"/>
                  </a:cubicBezTo>
                  <a:cubicBezTo>
                    <a:pt x="560" y="253"/>
                    <a:pt x="558" y="251"/>
                    <a:pt x="556" y="248"/>
                  </a:cubicBezTo>
                  <a:cubicBezTo>
                    <a:pt x="555" y="247"/>
                    <a:pt x="554" y="246"/>
                    <a:pt x="552" y="244"/>
                  </a:cubicBezTo>
                  <a:cubicBezTo>
                    <a:pt x="551" y="242"/>
                    <a:pt x="550" y="241"/>
                    <a:pt x="549" y="239"/>
                  </a:cubicBezTo>
                  <a:cubicBezTo>
                    <a:pt x="548" y="238"/>
                    <a:pt x="547" y="237"/>
                    <a:pt x="547" y="235"/>
                  </a:cubicBezTo>
                  <a:cubicBezTo>
                    <a:pt x="547" y="234"/>
                    <a:pt x="546" y="232"/>
                    <a:pt x="545" y="231"/>
                  </a:cubicBezTo>
                  <a:cubicBezTo>
                    <a:pt x="545" y="230"/>
                    <a:pt x="544" y="229"/>
                    <a:pt x="543" y="228"/>
                  </a:cubicBezTo>
                  <a:cubicBezTo>
                    <a:pt x="542" y="227"/>
                    <a:pt x="540" y="224"/>
                    <a:pt x="540" y="223"/>
                  </a:cubicBezTo>
                  <a:cubicBezTo>
                    <a:pt x="540" y="223"/>
                    <a:pt x="540" y="223"/>
                    <a:pt x="540" y="223"/>
                  </a:cubicBezTo>
                  <a:cubicBezTo>
                    <a:pt x="540" y="223"/>
                    <a:pt x="541" y="223"/>
                    <a:pt x="541" y="223"/>
                  </a:cubicBezTo>
                  <a:cubicBezTo>
                    <a:pt x="542" y="223"/>
                    <a:pt x="543" y="223"/>
                    <a:pt x="544" y="223"/>
                  </a:cubicBezTo>
                  <a:cubicBezTo>
                    <a:pt x="546" y="223"/>
                    <a:pt x="547" y="222"/>
                    <a:pt x="549" y="221"/>
                  </a:cubicBezTo>
                  <a:cubicBezTo>
                    <a:pt x="550" y="220"/>
                    <a:pt x="551" y="218"/>
                    <a:pt x="553" y="217"/>
                  </a:cubicBezTo>
                  <a:cubicBezTo>
                    <a:pt x="555" y="214"/>
                    <a:pt x="556" y="212"/>
                    <a:pt x="556" y="209"/>
                  </a:cubicBezTo>
                  <a:cubicBezTo>
                    <a:pt x="556" y="203"/>
                    <a:pt x="552" y="203"/>
                    <a:pt x="550" y="203"/>
                  </a:cubicBezTo>
                  <a:cubicBezTo>
                    <a:pt x="549" y="203"/>
                    <a:pt x="549" y="203"/>
                    <a:pt x="548" y="202"/>
                  </a:cubicBezTo>
                  <a:cubicBezTo>
                    <a:pt x="548" y="202"/>
                    <a:pt x="548" y="202"/>
                    <a:pt x="548" y="202"/>
                  </a:cubicBezTo>
                  <a:cubicBezTo>
                    <a:pt x="549" y="200"/>
                    <a:pt x="552" y="197"/>
                    <a:pt x="551" y="193"/>
                  </a:cubicBezTo>
                  <a:cubicBezTo>
                    <a:pt x="551" y="192"/>
                    <a:pt x="550" y="190"/>
                    <a:pt x="548" y="189"/>
                  </a:cubicBezTo>
                  <a:cubicBezTo>
                    <a:pt x="546" y="188"/>
                    <a:pt x="544" y="187"/>
                    <a:pt x="542" y="187"/>
                  </a:cubicBezTo>
                  <a:cubicBezTo>
                    <a:pt x="540" y="187"/>
                    <a:pt x="539" y="186"/>
                    <a:pt x="538" y="185"/>
                  </a:cubicBezTo>
                  <a:cubicBezTo>
                    <a:pt x="537" y="185"/>
                    <a:pt x="536" y="184"/>
                    <a:pt x="536" y="184"/>
                  </a:cubicBezTo>
                  <a:cubicBezTo>
                    <a:pt x="535" y="183"/>
                    <a:pt x="534" y="181"/>
                    <a:pt x="533" y="180"/>
                  </a:cubicBezTo>
                  <a:cubicBezTo>
                    <a:pt x="532" y="180"/>
                    <a:pt x="532" y="180"/>
                    <a:pt x="532" y="180"/>
                  </a:cubicBezTo>
                  <a:cubicBezTo>
                    <a:pt x="532" y="180"/>
                    <a:pt x="532" y="179"/>
                    <a:pt x="532" y="179"/>
                  </a:cubicBezTo>
                  <a:cubicBezTo>
                    <a:pt x="533" y="176"/>
                    <a:pt x="533" y="174"/>
                    <a:pt x="532" y="173"/>
                  </a:cubicBezTo>
                  <a:cubicBezTo>
                    <a:pt x="531" y="172"/>
                    <a:pt x="530" y="170"/>
                    <a:pt x="526" y="170"/>
                  </a:cubicBezTo>
                  <a:cubicBezTo>
                    <a:pt x="523" y="170"/>
                    <a:pt x="520" y="171"/>
                    <a:pt x="519" y="172"/>
                  </a:cubicBezTo>
                  <a:cubicBezTo>
                    <a:pt x="518" y="173"/>
                    <a:pt x="517" y="173"/>
                    <a:pt x="516" y="173"/>
                  </a:cubicBezTo>
                  <a:cubicBezTo>
                    <a:pt x="515" y="173"/>
                    <a:pt x="515" y="173"/>
                    <a:pt x="514" y="173"/>
                  </a:cubicBezTo>
                  <a:cubicBezTo>
                    <a:pt x="513" y="172"/>
                    <a:pt x="513" y="172"/>
                    <a:pt x="512" y="171"/>
                  </a:cubicBezTo>
                  <a:cubicBezTo>
                    <a:pt x="511" y="170"/>
                    <a:pt x="510" y="169"/>
                    <a:pt x="508" y="168"/>
                  </a:cubicBezTo>
                  <a:cubicBezTo>
                    <a:pt x="508" y="168"/>
                    <a:pt x="508" y="168"/>
                    <a:pt x="507" y="168"/>
                  </a:cubicBezTo>
                  <a:cubicBezTo>
                    <a:pt x="509" y="168"/>
                    <a:pt x="510" y="168"/>
                    <a:pt x="511" y="168"/>
                  </a:cubicBezTo>
                  <a:cubicBezTo>
                    <a:pt x="513" y="168"/>
                    <a:pt x="516" y="168"/>
                    <a:pt x="518" y="167"/>
                  </a:cubicBezTo>
                  <a:cubicBezTo>
                    <a:pt x="519" y="167"/>
                    <a:pt x="520" y="167"/>
                    <a:pt x="520" y="167"/>
                  </a:cubicBezTo>
                  <a:cubicBezTo>
                    <a:pt x="521" y="167"/>
                    <a:pt x="522" y="167"/>
                    <a:pt x="524" y="168"/>
                  </a:cubicBezTo>
                  <a:cubicBezTo>
                    <a:pt x="525" y="168"/>
                    <a:pt x="526" y="169"/>
                    <a:pt x="526" y="169"/>
                  </a:cubicBezTo>
                  <a:cubicBezTo>
                    <a:pt x="528" y="170"/>
                    <a:pt x="530" y="170"/>
                    <a:pt x="531" y="170"/>
                  </a:cubicBezTo>
                  <a:cubicBezTo>
                    <a:pt x="535" y="170"/>
                    <a:pt x="538" y="168"/>
                    <a:pt x="540" y="165"/>
                  </a:cubicBezTo>
                  <a:cubicBezTo>
                    <a:pt x="543" y="162"/>
                    <a:pt x="547" y="160"/>
                    <a:pt x="551" y="160"/>
                  </a:cubicBezTo>
                  <a:cubicBezTo>
                    <a:pt x="552" y="160"/>
                    <a:pt x="554" y="161"/>
                    <a:pt x="555" y="161"/>
                  </a:cubicBezTo>
                  <a:cubicBezTo>
                    <a:pt x="557" y="161"/>
                    <a:pt x="558" y="162"/>
                    <a:pt x="560" y="162"/>
                  </a:cubicBezTo>
                  <a:cubicBezTo>
                    <a:pt x="563" y="163"/>
                    <a:pt x="567" y="165"/>
                    <a:pt x="571" y="165"/>
                  </a:cubicBezTo>
                  <a:cubicBezTo>
                    <a:pt x="573" y="165"/>
                    <a:pt x="575" y="164"/>
                    <a:pt x="577" y="164"/>
                  </a:cubicBezTo>
                  <a:cubicBezTo>
                    <a:pt x="581" y="162"/>
                    <a:pt x="582" y="159"/>
                    <a:pt x="582" y="157"/>
                  </a:cubicBezTo>
                  <a:cubicBezTo>
                    <a:pt x="583" y="152"/>
                    <a:pt x="579" y="147"/>
                    <a:pt x="578" y="146"/>
                  </a:cubicBezTo>
                  <a:cubicBezTo>
                    <a:pt x="579" y="146"/>
                    <a:pt x="579" y="147"/>
                    <a:pt x="580" y="147"/>
                  </a:cubicBezTo>
                  <a:cubicBezTo>
                    <a:pt x="582" y="147"/>
                    <a:pt x="583" y="148"/>
                    <a:pt x="585" y="148"/>
                  </a:cubicBezTo>
                  <a:cubicBezTo>
                    <a:pt x="585" y="148"/>
                    <a:pt x="586" y="148"/>
                    <a:pt x="586" y="148"/>
                  </a:cubicBezTo>
                  <a:cubicBezTo>
                    <a:pt x="587" y="147"/>
                    <a:pt x="587" y="147"/>
                    <a:pt x="588" y="147"/>
                  </a:cubicBezTo>
                  <a:cubicBezTo>
                    <a:pt x="588" y="147"/>
                    <a:pt x="589" y="148"/>
                    <a:pt x="589" y="148"/>
                  </a:cubicBezTo>
                  <a:cubicBezTo>
                    <a:pt x="589" y="148"/>
                    <a:pt x="589" y="148"/>
                    <a:pt x="589" y="148"/>
                  </a:cubicBezTo>
                  <a:cubicBezTo>
                    <a:pt x="589" y="148"/>
                    <a:pt x="589" y="148"/>
                    <a:pt x="589" y="150"/>
                  </a:cubicBezTo>
                  <a:cubicBezTo>
                    <a:pt x="589" y="150"/>
                    <a:pt x="589" y="151"/>
                    <a:pt x="589" y="151"/>
                  </a:cubicBezTo>
                  <a:cubicBezTo>
                    <a:pt x="589" y="153"/>
                    <a:pt x="588" y="157"/>
                    <a:pt x="591" y="160"/>
                  </a:cubicBezTo>
                  <a:cubicBezTo>
                    <a:pt x="592" y="160"/>
                    <a:pt x="594" y="161"/>
                    <a:pt x="595" y="161"/>
                  </a:cubicBezTo>
                  <a:cubicBezTo>
                    <a:pt x="596" y="161"/>
                    <a:pt x="597" y="161"/>
                    <a:pt x="598" y="160"/>
                  </a:cubicBezTo>
                  <a:cubicBezTo>
                    <a:pt x="599" y="160"/>
                    <a:pt x="599" y="160"/>
                    <a:pt x="600" y="160"/>
                  </a:cubicBezTo>
                  <a:cubicBezTo>
                    <a:pt x="600" y="160"/>
                    <a:pt x="600" y="160"/>
                    <a:pt x="600" y="160"/>
                  </a:cubicBezTo>
                  <a:cubicBezTo>
                    <a:pt x="600" y="160"/>
                    <a:pt x="600" y="160"/>
                    <a:pt x="600" y="160"/>
                  </a:cubicBezTo>
                  <a:cubicBezTo>
                    <a:pt x="600" y="160"/>
                    <a:pt x="600" y="160"/>
                    <a:pt x="600" y="160"/>
                  </a:cubicBezTo>
                  <a:cubicBezTo>
                    <a:pt x="600" y="160"/>
                    <a:pt x="601" y="161"/>
                    <a:pt x="601" y="162"/>
                  </a:cubicBezTo>
                  <a:cubicBezTo>
                    <a:pt x="601" y="163"/>
                    <a:pt x="601" y="163"/>
                    <a:pt x="601" y="163"/>
                  </a:cubicBezTo>
                  <a:cubicBezTo>
                    <a:pt x="601" y="167"/>
                    <a:pt x="603" y="168"/>
                    <a:pt x="606" y="168"/>
                  </a:cubicBezTo>
                  <a:cubicBezTo>
                    <a:pt x="606" y="168"/>
                    <a:pt x="607" y="169"/>
                    <a:pt x="607" y="169"/>
                  </a:cubicBezTo>
                  <a:cubicBezTo>
                    <a:pt x="608" y="169"/>
                    <a:pt x="608" y="170"/>
                    <a:pt x="609" y="170"/>
                  </a:cubicBezTo>
                  <a:cubicBezTo>
                    <a:pt x="610" y="171"/>
                    <a:pt x="611" y="173"/>
                    <a:pt x="613" y="174"/>
                  </a:cubicBezTo>
                  <a:cubicBezTo>
                    <a:pt x="615" y="174"/>
                    <a:pt x="617" y="174"/>
                    <a:pt x="618" y="174"/>
                  </a:cubicBezTo>
                  <a:cubicBezTo>
                    <a:pt x="620" y="174"/>
                    <a:pt x="621" y="174"/>
                    <a:pt x="622" y="175"/>
                  </a:cubicBezTo>
                  <a:cubicBezTo>
                    <a:pt x="623" y="177"/>
                    <a:pt x="623" y="178"/>
                    <a:pt x="623" y="179"/>
                  </a:cubicBezTo>
                  <a:cubicBezTo>
                    <a:pt x="623" y="179"/>
                    <a:pt x="622" y="180"/>
                    <a:pt x="622" y="181"/>
                  </a:cubicBezTo>
                  <a:cubicBezTo>
                    <a:pt x="621" y="181"/>
                    <a:pt x="620" y="181"/>
                    <a:pt x="619" y="182"/>
                  </a:cubicBezTo>
                  <a:cubicBezTo>
                    <a:pt x="617" y="182"/>
                    <a:pt x="614" y="183"/>
                    <a:pt x="612" y="187"/>
                  </a:cubicBezTo>
                  <a:cubicBezTo>
                    <a:pt x="611" y="190"/>
                    <a:pt x="611" y="197"/>
                    <a:pt x="613" y="200"/>
                  </a:cubicBezTo>
                  <a:cubicBezTo>
                    <a:pt x="614" y="202"/>
                    <a:pt x="616" y="203"/>
                    <a:pt x="618" y="203"/>
                  </a:cubicBezTo>
                  <a:cubicBezTo>
                    <a:pt x="619" y="203"/>
                    <a:pt x="621" y="203"/>
                    <a:pt x="622" y="202"/>
                  </a:cubicBezTo>
                  <a:cubicBezTo>
                    <a:pt x="626" y="199"/>
                    <a:pt x="628" y="195"/>
                    <a:pt x="630" y="192"/>
                  </a:cubicBezTo>
                  <a:cubicBezTo>
                    <a:pt x="631" y="189"/>
                    <a:pt x="633" y="187"/>
                    <a:pt x="635" y="185"/>
                  </a:cubicBezTo>
                  <a:cubicBezTo>
                    <a:pt x="636" y="185"/>
                    <a:pt x="638" y="184"/>
                    <a:pt x="638" y="184"/>
                  </a:cubicBezTo>
                  <a:cubicBezTo>
                    <a:pt x="638" y="184"/>
                    <a:pt x="638" y="185"/>
                    <a:pt x="638" y="185"/>
                  </a:cubicBezTo>
                  <a:cubicBezTo>
                    <a:pt x="638" y="187"/>
                    <a:pt x="638" y="188"/>
                    <a:pt x="638" y="189"/>
                  </a:cubicBezTo>
                  <a:cubicBezTo>
                    <a:pt x="638" y="192"/>
                    <a:pt x="639" y="194"/>
                    <a:pt x="641" y="197"/>
                  </a:cubicBezTo>
                  <a:cubicBezTo>
                    <a:pt x="643" y="198"/>
                    <a:pt x="646" y="201"/>
                    <a:pt x="649" y="201"/>
                  </a:cubicBezTo>
                  <a:cubicBezTo>
                    <a:pt x="650" y="201"/>
                    <a:pt x="650" y="201"/>
                    <a:pt x="650" y="201"/>
                  </a:cubicBezTo>
                  <a:cubicBezTo>
                    <a:pt x="650" y="201"/>
                    <a:pt x="650" y="201"/>
                    <a:pt x="650" y="201"/>
                  </a:cubicBezTo>
                  <a:cubicBezTo>
                    <a:pt x="652" y="201"/>
                    <a:pt x="652" y="200"/>
                    <a:pt x="653" y="200"/>
                  </a:cubicBezTo>
                  <a:cubicBezTo>
                    <a:pt x="653" y="205"/>
                    <a:pt x="656" y="207"/>
                    <a:pt x="657" y="207"/>
                  </a:cubicBezTo>
                  <a:cubicBezTo>
                    <a:pt x="658" y="208"/>
                    <a:pt x="659" y="208"/>
                    <a:pt x="660" y="208"/>
                  </a:cubicBezTo>
                  <a:cubicBezTo>
                    <a:pt x="661" y="208"/>
                    <a:pt x="662" y="208"/>
                    <a:pt x="663" y="207"/>
                  </a:cubicBezTo>
                  <a:cubicBezTo>
                    <a:pt x="664" y="207"/>
                    <a:pt x="664" y="207"/>
                    <a:pt x="665" y="207"/>
                  </a:cubicBezTo>
                  <a:cubicBezTo>
                    <a:pt x="665" y="207"/>
                    <a:pt x="665" y="207"/>
                    <a:pt x="665" y="207"/>
                  </a:cubicBezTo>
                  <a:cubicBezTo>
                    <a:pt x="667" y="208"/>
                    <a:pt x="669" y="212"/>
                    <a:pt x="671" y="215"/>
                  </a:cubicBezTo>
                  <a:cubicBezTo>
                    <a:pt x="672" y="217"/>
                    <a:pt x="673" y="219"/>
                    <a:pt x="675" y="221"/>
                  </a:cubicBezTo>
                  <a:cubicBezTo>
                    <a:pt x="677" y="223"/>
                    <a:pt x="677" y="223"/>
                    <a:pt x="677" y="223"/>
                  </a:cubicBezTo>
                  <a:cubicBezTo>
                    <a:pt x="679" y="226"/>
                    <a:pt x="682" y="229"/>
                    <a:pt x="684" y="233"/>
                  </a:cubicBezTo>
                  <a:cubicBezTo>
                    <a:pt x="685" y="236"/>
                    <a:pt x="687" y="241"/>
                    <a:pt x="686" y="244"/>
                  </a:cubicBezTo>
                  <a:cubicBezTo>
                    <a:pt x="686" y="245"/>
                    <a:pt x="685" y="246"/>
                    <a:pt x="684" y="248"/>
                  </a:cubicBezTo>
                  <a:cubicBezTo>
                    <a:pt x="682" y="250"/>
                    <a:pt x="680" y="252"/>
                    <a:pt x="680" y="256"/>
                  </a:cubicBezTo>
                  <a:cubicBezTo>
                    <a:pt x="680" y="258"/>
                    <a:pt x="680" y="260"/>
                    <a:pt x="682" y="262"/>
                  </a:cubicBezTo>
                  <a:cubicBezTo>
                    <a:pt x="680" y="262"/>
                    <a:pt x="678" y="263"/>
                    <a:pt x="677" y="265"/>
                  </a:cubicBezTo>
                  <a:cubicBezTo>
                    <a:pt x="676" y="266"/>
                    <a:pt x="675" y="268"/>
                    <a:pt x="675" y="269"/>
                  </a:cubicBezTo>
                  <a:cubicBezTo>
                    <a:pt x="675" y="270"/>
                    <a:pt x="674" y="271"/>
                    <a:pt x="674" y="271"/>
                  </a:cubicBezTo>
                  <a:cubicBezTo>
                    <a:pt x="673" y="273"/>
                    <a:pt x="672" y="275"/>
                    <a:pt x="671" y="277"/>
                  </a:cubicBezTo>
                  <a:cubicBezTo>
                    <a:pt x="669" y="281"/>
                    <a:pt x="666" y="285"/>
                    <a:pt x="667" y="290"/>
                  </a:cubicBezTo>
                  <a:cubicBezTo>
                    <a:pt x="669" y="296"/>
                    <a:pt x="674" y="298"/>
                    <a:pt x="678" y="300"/>
                  </a:cubicBezTo>
                  <a:cubicBezTo>
                    <a:pt x="681" y="302"/>
                    <a:pt x="684" y="303"/>
                    <a:pt x="686" y="305"/>
                  </a:cubicBezTo>
                  <a:cubicBezTo>
                    <a:pt x="686" y="306"/>
                    <a:pt x="686" y="306"/>
                    <a:pt x="686" y="307"/>
                  </a:cubicBezTo>
                  <a:cubicBezTo>
                    <a:pt x="686" y="307"/>
                    <a:pt x="684" y="308"/>
                    <a:pt x="681" y="309"/>
                  </a:cubicBezTo>
                  <a:cubicBezTo>
                    <a:pt x="680" y="309"/>
                    <a:pt x="680" y="309"/>
                    <a:pt x="679" y="309"/>
                  </a:cubicBezTo>
                  <a:cubicBezTo>
                    <a:pt x="678" y="310"/>
                    <a:pt x="676" y="310"/>
                    <a:pt x="675" y="310"/>
                  </a:cubicBezTo>
                  <a:cubicBezTo>
                    <a:pt x="672" y="312"/>
                    <a:pt x="671" y="314"/>
                    <a:pt x="669" y="315"/>
                  </a:cubicBezTo>
                  <a:cubicBezTo>
                    <a:pt x="669" y="316"/>
                    <a:pt x="668" y="317"/>
                    <a:pt x="668" y="317"/>
                  </a:cubicBezTo>
                  <a:cubicBezTo>
                    <a:pt x="667" y="318"/>
                    <a:pt x="666" y="319"/>
                    <a:pt x="665" y="320"/>
                  </a:cubicBezTo>
                  <a:cubicBezTo>
                    <a:pt x="664" y="321"/>
                    <a:pt x="664" y="321"/>
                    <a:pt x="664" y="321"/>
                  </a:cubicBezTo>
                  <a:cubicBezTo>
                    <a:pt x="662" y="322"/>
                    <a:pt x="659" y="323"/>
                    <a:pt x="655" y="323"/>
                  </a:cubicBezTo>
                  <a:cubicBezTo>
                    <a:pt x="655" y="323"/>
                    <a:pt x="655" y="323"/>
                    <a:pt x="655" y="323"/>
                  </a:cubicBezTo>
                  <a:cubicBezTo>
                    <a:pt x="652" y="323"/>
                    <a:pt x="649" y="322"/>
                    <a:pt x="645" y="322"/>
                  </a:cubicBezTo>
                  <a:cubicBezTo>
                    <a:pt x="642" y="321"/>
                    <a:pt x="638" y="321"/>
                    <a:pt x="634" y="321"/>
                  </a:cubicBezTo>
                  <a:cubicBezTo>
                    <a:pt x="632" y="321"/>
                    <a:pt x="630" y="321"/>
                    <a:pt x="628" y="321"/>
                  </a:cubicBezTo>
                  <a:cubicBezTo>
                    <a:pt x="626" y="322"/>
                    <a:pt x="626" y="322"/>
                    <a:pt x="626" y="322"/>
                  </a:cubicBezTo>
                  <a:cubicBezTo>
                    <a:pt x="626" y="324"/>
                    <a:pt x="626" y="324"/>
                    <a:pt x="626" y="324"/>
                  </a:cubicBezTo>
                  <a:cubicBezTo>
                    <a:pt x="625" y="325"/>
                    <a:pt x="625" y="325"/>
                    <a:pt x="625" y="325"/>
                  </a:cubicBezTo>
                  <a:cubicBezTo>
                    <a:pt x="625" y="326"/>
                    <a:pt x="625" y="328"/>
                    <a:pt x="626" y="329"/>
                  </a:cubicBezTo>
                  <a:cubicBezTo>
                    <a:pt x="626" y="331"/>
                    <a:pt x="627" y="332"/>
                    <a:pt x="628" y="332"/>
                  </a:cubicBezTo>
                  <a:cubicBezTo>
                    <a:pt x="628" y="332"/>
                    <a:pt x="628" y="332"/>
                    <a:pt x="628" y="332"/>
                  </a:cubicBezTo>
                  <a:cubicBezTo>
                    <a:pt x="629" y="334"/>
                    <a:pt x="629" y="334"/>
                    <a:pt x="628" y="335"/>
                  </a:cubicBezTo>
                  <a:cubicBezTo>
                    <a:pt x="627" y="335"/>
                    <a:pt x="627" y="336"/>
                    <a:pt x="626" y="336"/>
                  </a:cubicBezTo>
                  <a:cubicBezTo>
                    <a:pt x="625" y="337"/>
                    <a:pt x="623" y="338"/>
                    <a:pt x="621" y="342"/>
                  </a:cubicBezTo>
                  <a:cubicBezTo>
                    <a:pt x="621" y="343"/>
                    <a:pt x="621" y="343"/>
                    <a:pt x="621" y="344"/>
                  </a:cubicBezTo>
                  <a:cubicBezTo>
                    <a:pt x="621" y="345"/>
                    <a:pt x="621" y="345"/>
                    <a:pt x="620" y="346"/>
                  </a:cubicBezTo>
                  <a:cubicBezTo>
                    <a:pt x="620" y="347"/>
                    <a:pt x="620" y="347"/>
                    <a:pt x="620" y="347"/>
                  </a:cubicBezTo>
                  <a:cubicBezTo>
                    <a:pt x="619" y="349"/>
                    <a:pt x="619" y="350"/>
                    <a:pt x="619" y="352"/>
                  </a:cubicBezTo>
                  <a:cubicBezTo>
                    <a:pt x="619" y="353"/>
                    <a:pt x="620" y="354"/>
                    <a:pt x="620" y="355"/>
                  </a:cubicBezTo>
                  <a:cubicBezTo>
                    <a:pt x="620" y="358"/>
                    <a:pt x="620" y="361"/>
                    <a:pt x="624" y="365"/>
                  </a:cubicBezTo>
                  <a:cubicBezTo>
                    <a:pt x="627" y="369"/>
                    <a:pt x="632" y="371"/>
                    <a:pt x="637" y="372"/>
                  </a:cubicBezTo>
                  <a:cubicBezTo>
                    <a:pt x="638" y="373"/>
                    <a:pt x="639" y="373"/>
                    <a:pt x="640" y="373"/>
                  </a:cubicBezTo>
                  <a:cubicBezTo>
                    <a:pt x="644" y="373"/>
                    <a:pt x="647" y="371"/>
                    <a:pt x="649" y="370"/>
                  </a:cubicBezTo>
                  <a:cubicBezTo>
                    <a:pt x="650" y="369"/>
                    <a:pt x="651" y="369"/>
                    <a:pt x="652" y="368"/>
                  </a:cubicBezTo>
                  <a:cubicBezTo>
                    <a:pt x="655" y="367"/>
                    <a:pt x="658" y="365"/>
                    <a:pt x="662" y="362"/>
                  </a:cubicBezTo>
                  <a:cubicBezTo>
                    <a:pt x="664" y="360"/>
                    <a:pt x="665" y="358"/>
                    <a:pt x="665" y="357"/>
                  </a:cubicBezTo>
                  <a:cubicBezTo>
                    <a:pt x="666" y="356"/>
                    <a:pt x="666" y="355"/>
                    <a:pt x="666" y="355"/>
                  </a:cubicBezTo>
                  <a:cubicBezTo>
                    <a:pt x="667" y="355"/>
                    <a:pt x="667" y="355"/>
                    <a:pt x="667" y="355"/>
                  </a:cubicBezTo>
                  <a:cubicBezTo>
                    <a:pt x="668" y="355"/>
                    <a:pt x="669" y="355"/>
                    <a:pt x="670" y="356"/>
                  </a:cubicBezTo>
                  <a:cubicBezTo>
                    <a:pt x="671" y="356"/>
                    <a:pt x="671" y="356"/>
                    <a:pt x="671" y="356"/>
                  </a:cubicBezTo>
                  <a:cubicBezTo>
                    <a:pt x="673" y="356"/>
                    <a:pt x="675" y="357"/>
                    <a:pt x="676" y="357"/>
                  </a:cubicBezTo>
                  <a:cubicBezTo>
                    <a:pt x="680" y="357"/>
                    <a:pt x="684" y="355"/>
                    <a:pt x="685" y="353"/>
                  </a:cubicBezTo>
                  <a:cubicBezTo>
                    <a:pt x="686" y="351"/>
                    <a:pt x="686" y="350"/>
                    <a:pt x="685" y="348"/>
                  </a:cubicBezTo>
                  <a:cubicBezTo>
                    <a:pt x="686" y="347"/>
                    <a:pt x="686" y="347"/>
                    <a:pt x="686" y="347"/>
                  </a:cubicBezTo>
                  <a:cubicBezTo>
                    <a:pt x="687" y="348"/>
                    <a:pt x="688" y="350"/>
                    <a:pt x="691" y="351"/>
                  </a:cubicBezTo>
                  <a:cubicBezTo>
                    <a:pt x="691" y="351"/>
                    <a:pt x="691" y="351"/>
                    <a:pt x="691" y="351"/>
                  </a:cubicBezTo>
                  <a:cubicBezTo>
                    <a:pt x="692" y="351"/>
                    <a:pt x="692" y="351"/>
                    <a:pt x="692" y="351"/>
                  </a:cubicBezTo>
                  <a:cubicBezTo>
                    <a:pt x="695" y="351"/>
                    <a:pt x="696" y="348"/>
                    <a:pt x="697" y="347"/>
                  </a:cubicBezTo>
                  <a:cubicBezTo>
                    <a:pt x="697" y="346"/>
                    <a:pt x="697" y="346"/>
                    <a:pt x="697" y="346"/>
                  </a:cubicBezTo>
                  <a:cubicBezTo>
                    <a:pt x="698" y="346"/>
                    <a:pt x="698" y="347"/>
                    <a:pt x="698" y="348"/>
                  </a:cubicBezTo>
                  <a:cubicBezTo>
                    <a:pt x="699" y="348"/>
                    <a:pt x="699" y="348"/>
                    <a:pt x="699" y="348"/>
                  </a:cubicBezTo>
                  <a:cubicBezTo>
                    <a:pt x="700" y="350"/>
                    <a:pt x="702" y="352"/>
                    <a:pt x="703" y="353"/>
                  </a:cubicBezTo>
                  <a:cubicBezTo>
                    <a:pt x="704" y="354"/>
                    <a:pt x="704" y="354"/>
                    <a:pt x="705" y="355"/>
                  </a:cubicBezTo>
                  <a:cubicBezTo>
                    <a:pt x="707" y="357"/>
                    <a:pt x="709" y="358"/>
                    <a:pt x="711" y="359"/>
                  </a:cubicBezTo>
                  <a:cubicBezTo>
                    <a:pt x="713" y="360"/>
                    <a:pt x="713" y="360"/>
                    <a:pt x="713" y="360"/>
                  </a:cubicBezTo>
                  <a:cubicBezTo>
                    <a:pt x="715" y="361"/>
                    <a:pt x="716" y="362"/>
                    <a:pt x="717" y="364"/>
                  </a:cubicBezTo>
                  <a:cubicBezTo>
                    <a:pt x="717" y="364"/>
                    <a:pt x="717" y="364"/>
                    <a:pt x="717" y="364"/>
                  </a:cubicBezTo>
                  <a:cubicBezTo>
                    <a:pt x="719" y="367"/>
                    <a:pt x="721" y="368"/>
                    <a:pt x="724" y="368"/>
                  </a:cubicBezTo>
                  <a:cubicBezTo>
                    <a:pt x="724" y="368"/>
                    <a:pt x="725" y="368"/>
                    <a:pt x="726" y="368"/>
                  </a:cubicBezTo>
                  <a:cubicBezTo>
                    <a:pt x="727" y="368"/>
                    <a:pt x="727" y="368"/>
                    <a:pt x="728" y="369"/>
                  </a:cubicBezTo>
                  <a:cubicBezTo>
                    <a:pt x="729" y="369"/>
                    <a:pt x="731" y="370"/>
                    <a:pt x="733" y="370"/>
                  </a:cubicBezTo>
                  <a:cubicBezTo>
                    <a:pt x="733" y="370"/>
                    <a:pt x="733" y="370"/>
                    <a:pt x="733" y="370"/>
                  </a:cubicBezTo>
                  <a:cubicBezTo>
                    <a:pt x="734" y="370"/>
                    <a:pt x="735" y="370"/>
                    <a:pt x="737" y="370"/>
                  </a:cubicBezTo>
                  <a:cubicBezTo>
                    <a:pt x="739" y="370"/>
                    <a:pt x="740" y="370"/>
                    <a:pt x="742" y="370"/>
                  </a:cubicBezTo>
                  <a:cubicBezTo>
                    <a:pt x="741" y="371"/>
                    <a:pt x="741" y="371"/>
                    <a:pt x="740" y="372"/>
                  </a:cubicBezTo>
                  <a:cubicBezTo>
                    <a:pt x="738" y="374"/>
                    <a:pt x="736" y="377"/>
                    <a:pt x="736" y="380"/>
                  </a:cubicBezTo>
                  <a:cubicBezTo>
                    <a:pt x="736" y="381"/>
                    <a:pt x="737" y="383"/>
                    <a:pt x="739" y="384"/>
                  </a:cubicBezTo>
                  <a:cubicBezTo>
                    <a:pt x="741" y="386"/>
                    <a:pt x="742" y="388"/>
                    <a:pt x="744" y="390"/>
                  </a:cubicBezTo>
                  <a:cubicBezTo>
                    <a:pt x="746" y="392"/>
                    <a:pt x="748" y="392"/>
                    <a:pt x="751" y="392"/>
                  </a:cubicBezTo>
                  <a:cubicBezTo>
                    <a:pt x="752" y="392"/>
                    <a:pt x="753" y="392"/>
                    <a:pt x="754" y="392"/>
                  </a:cubicBezTo>
                  <a:cubicBezTo>
                    <a:pt x="755" y="392"/>
                    <a:pt x="756" y="392"/>
                    <a:pt x="757" y="392"/>
                  </a:cubicBezTo>
                  <a:cubicBezTo>
                    <a:pt x="757" y="392"/>
                    <a:pt x="758" y="392"/>
                    <a:pt x="758" y="392"/>
                  </a:cubicBezTo>
                  <a:cubicBezTo>
                    <a:pt x="759" y="393"/>
                    <a:pt x="759" y="394"/>
                    <a:pt x="758" y="395"/>
                  </a:cubicBezTo>
                  <a:cubicBezTo>
                    <a:pt x="758" y="396"/>
                    <a:pt x="758" y="397"/>
                    <a:pt x="759" y="398"/>
                  </a:cubicBezTo>
                  <a:cubicBezTo>
                    <a:pt x="759" y="402"/>
                    <a:pt x="763" y="407"/>
                    <a:pt x="769" y="407"/>
                  </a:cubicBezTo>
                  <a:cubicBezTo>
                    <a:pt x="770" y="407"/>
                    <a:pt x="770" y="407"/>
                    <a:pt x="771" y="407"/>
                  </a:cubicBezTo>
                  <a:cubicBezTo>
                    <a:pt x="776" y="405"/>
                    <a:pt x="776" y="401"/>
                    <a:pt x="776" y="399"/>
                  </a:cubicBezTo>
                  <a:cubicBezTo>
                    <a:pt x="775" y="397"/>
                    <a:pt x="776" y="396"/>
                    <a:pt x="776" y="396"/>
                  </a:cubicBezTo>
                  <a:cubicBezTo>
                    <a:pt x="777" y="396"/>
                    <a:pt x="779" y="395"/>
                    <a:pt x="781" y="395"/>
                  </a:cubicBezTo>
                  <a:cubicBezTo>
                    <a:pt x="783" y="395"/>
                    <a:pt x="784" y="395"/>
                    <a:pt x="785" y="395"/>
                  </a:cubicBezTo>
                  <a:cubicBezTo>
                    <a:pt x="786" y="396"/>
                    <a:pt x="788" y="398"/>
                    <a:pt x="789" y="399"/>
                  </a:cubicBezTo>
                  <a:cubicBezTo>
                    <a:pt x="792" y="401"/>
                    <a:pt x="795" y="403"/>
                    <a:pt x="798" y="404"/>
                  </a:cubicBezTo>
                  <a:cubicBezTo>
                    <a:pt x="801" y="405"/>
                    <a:pt x="803" y="405"/>
                    <a:pt x="806" y="405"/>
                  </a:cubicBezTo>
                  <a:cubicBezTo>
                    <a:pt x="808" y="405"/>
                    <a:pt x="809" y="405"/>
                    <a:pt x="811" y="405"/>
                  </a:cubicBezTo>
                  <a:cubicBezTo>
                    <a:pt x="812" y="405"/>
                    <a:pt x="813" y="405"/>
                    <a:pt x="814" y="405"/>
                  </a:cubicBezTo>
                  <a:cubicBezTo>
                    <a:pt x="814" y="405"/>
                    <a:pt x="814" y="405"/>
                    <a:pt x="815" y="405"/>
                  </a:cubicBezTo>
                  <a:cubicBezTo>
                    <a:pt x="817" y="405"/>
                    <a:pt x="819" y="405"/>
                    <a:pt x="822" y="405"/>
                  </a:cubicBezTo>
                  <a:cubicBezTo>
                    <a:pt x="823" y="405"/>
                    <a:pt x="823" y="405"/>
                    <a:pt x="823" y="405"/>
                  </a:cubicBezTo>
                  <a:cubicBezTo>
                    <a:pt x="823" y="405"/>
                    <a:pt x="824" y="405"/>
                    <a:pt x="824" y="405"/>
                  </a:cubicBezTo>
                  <a:cubicBezTo>
                    <a:pt x="826" y="405"/>
                    <a:pt x="827" y="405"/>
                    <a:pt x="828" y="405"/>
                  </a:cubicBezTo>
                  <a:cubicBezTo>
                    <a:pt x="829" y="405"/>
                    <a:pt x="830" y="404"/>
                    <a:pt x="831" y="404"/>
                  </a:cubicBezTo>
                  <a:cubicBezTo>
                    <a:pt x="832" y="404"/>
                    <a:pt x="835" y="405"/>
                    <a:pt x="836" y="405"/>
                  </a:cubicBezTo>
                  <a:cubicBezTo>
                    <a:pt x="839" y="406"/>
                    <a:pt x="842" y="407"/>
                    <a:pt x="845" y="407"/>
                  </a:cubicBezTo>
                  <a:cubicBezTo>
                    <a:pt x="848" y="407"/>
                    <a:pt x="850" y="406"/>
                    <a:pt x="851" y="404"/>
                  </a:cubicBezTo>
                  <a:cubicBezTo>
                    <a:pt x="853" y="403"/>
                    <a:pt x="853" y="400"/>
                    <a:pt x="853" y="398"/>
                  </a:cubicBezTo>
                  <a:cubicBezTo>
                    <a:pt x="853" y="389"/>
                    <a:pt x="844" y="382"/>
                    <a:pt x="837" y="378"/>
                  </a:cubicBezTo>
                  <a:cubicBezTo>
                    <a:pt x="834" y="377"/>
                    <a:pt x="832" y="376"/>
                    <a:pt x="829" y="375"/>
                  </a:cubicBezTo>
                  <a:cubicBezTo>
                    <a:pt x="824" y="373"/>
                    <a:pt x="820" y="371"/>
                    <a:pt x="816" y="368"/>
                  </a:cubicBezTo>
                  <a:cubicBezTo>
                    <a:pt x="814" y="367"/>
                    <a:pt x="812" y="367"/>
                    <a:pt x="810" y="366"/>
                  </a:cubicBezTo>
                  <a:cubicBezTo>
                    <a:pt x="809" y="366"/>
                    <a:pt x="808" y="366"/>
                    <a:pt x="807" y="365"/>
                  </a:cubicBezTo>
                  <a:cubicBezTo>
                    <a:pt x="803" y="364"/>
                    <a:pt x="798" y="361"/>
                    <a:pt x="794" y="359"/>
                  </a:cubicBezTo>
                  <a:cubicBezTo>
                    <a:pt x="793" y="358"/>
                    <a:pt x="791" y="357"/>
                    <a:pt x="790" y="357"/>
                  </a:cubicBezTo>
                  <a:cubicBezTo>
                    <a:pt x="788" y="355"/>
                    <a:pt x="786" y="354"/>
                    <a:pt x="785" y="353"/>
                  </a:cubicBezTo>
                  <a:cubicBezTo>
                    <a:pt x="785" y="352"/>
                    <a:pt x="785" y="352"/>
                    <a:pt x="785" y="352"/>
                  </a:cubicBezTo>
                  <a:cubicBezTo>
                    <a:pt x="786" y="352"/>
                    <a:pt x="788" y="353"/>
                    <a:pt x="789" y="353"/>
                  </a:cubicBezTo>
                  <a:cubicBezTo>
                    <a:pt x="791" y="354"/>
                    <a:pt x="792" y="354"/>
                    <a:pt x="793" y="354"/>
                  </a:cubicBezTo>
                  <a:cubicBezTo>
                    <a:pt x="794" y="354"/>
                    <a:pt x="795" y="354"/>
                    <a:pt x="796" y="354"/>
                  </a:cubicBezTo>
                  <a:cubicBezTo>
                    <a:pt x="797" y="354"/>
                    <a:pt x="797" y="354"/>
                    <a:pt x="798" y="354"/>
                  </a:cubicBezTo>
                  <a:cubicBezTo>
                    <a:pt x="799" y="354"/>
                    <a:pt x="799" y="354"/>
                    <a:pt x="800" y="354"/>
                  </a:cubicBezTo>
                  <a:cubicBezTo>
                    <a:pt x="801" y="354"/>
                    <a:pt x="802" y="354"/>
                    <a:pt x="802" y="355"/>
                  </a:cubicBezTo>
                  <a:cubicBezTo>
                    <a:pt x="806" y="355"/>
                    <a:pt x="809" y="357"/>
                    <a:pt x="812" y="358"/>
                  </a:cubicBezTo>
                  <a:cubicBezTo>
                    <a:pt x="815" y="359"/>
                    <a:pt x="817" y="360"/>
                    <a:pt x="819" y="361"/>
                  </a:cubicBezTo>
                  <a:cubicBezTo>
                    <a:pt x="820" y="361"/>
                    <a:pt x="821" y="362"/>
                    <a:pt x="822" y="362"/>
                  </a:cubicBezTo>
                  <a:cubicBezTo>
                    <a:pt x="823" y="362"/>
                    <a:pt x="824" y="361"/>
                    <a:pt x="825" y="361"/>
                  </a:cubicBezTo>
                  <a:cubicBezTo>
                    <a:pt x="826" y="361"/>
                    <a:pt x="827" y="361"/>
                    <a:pt x="827" y="361"/>
                  </a:cubicBezTo>
                  <a:cubicBezTo>
                    <a:pt x="827" y="361"/>
                    <a:pt x="828" y="361"/>
                    <a:pt x="828" y="361"/>
                  </a:cubicBezTo>
                  <a:cubicBezTo>
                    <a:pt x="828" y="361"/>
                    <a:pt x="829" y="362"/>
                    <a:pt x="830" y="362"/>
                  </a:cubicBezTo>
                  <a:cubicBezTo>
                    <a:pt x="831" y="363"/>
                    <a:pt x="832" y="365"/>
                    <a:pt x="834" y="365"/>
                  </a:cubicBezTo>
                  <a:cubicBezTo>
                    <a:pt x="835" y="366"/>
                    <a:pt x="836" y="366"/>
                    <a:pt x="838" y="366"/>
                  </a:cubicBezTo>
                  <a:cubicBezTo>
                    <a:pt x="838" y="366"/>
                    <a:pt x="839" y="366"/>
                    <a:pt x="840" y="366"/>
                  </a:cubicBezTo>
                  <a:cubicBezTo>
                    <a:pt x="841" y="366"/>
                    <a:pt x="842" y="366"/>
                    <a:pt x="842" y="366"/>
                  </a:cubicBezTo>
                  <a:cubicBezTo>
                    <a:pt x="843" y="366"/>
                    <a:pt x="843" y="366"/>
                    <a:pt x="843" y="366"/>
                  </a:cubicBezTo>
                  <a:cubicBezTo>
                    <a:pt x="844" y="366"/>
                    <a:pt x="845" y="366"/>
                    <a:pt x="846" y="367"/>
                  </a:cubicBezTo>
                  <a:cubicBezTo>
                    <a:pt x="847" y="367"/>
                    <a:pt x="847" y="367"/>
                    <a:pt x="847" y="367"/>
                  </a:cubicBezTo>
                  <a:cubicBezTo>
                    <a:pt x="848" y="368"/>
                    <a:pt x="848" y="368"/>
                    <a:pt x="849" y="368"/>
                  </a:cubicBezTo>
                  <a:cubicBezTo>
                    <a:pt x="850" y="369"/>
                    <a:pt x="851" y="369"/>
                    <a:pt x="852" y="370"/>
                  </a:cubicBezTo>
                  <a:cubicBezTo>
                    <a:pt x="854" y="371"/>
                    <a:pt x="855" y="371"/>
                    <a:pt x="857" y="371"/>
                  </a:cubicBezTo>
                  <a:cubicBezTo>
                    <a:pt x="859" y="371"/>
                    <a:pt x="861" y="370"/>
                    <a:pt x="862" y="367"/>
                  </a:cubicBezTo>
                  <a:cubicBezTo>
                    <a:pt x="863" y="365"/>
                    <a:pt x="862" y="362"/>
                    <a:pt x="861" y="360"/>
                  </a:cubicBezTo>
                  <a:cubicBezTo>
                    <a:pt x="861" y="360"/>
                    <a:pt x="861" y="360"/>
                    <a:pt x="862" y="359"/>
                  </a:cubicBezTo>
                  <a:close/>
                  <a:moveTo>
                    <a:pt x="493" y="120"/>
                  </a:moveTo>
                  <a:cubicBezTo>
                    <a:pt x="493" y="120"/>
                    <a:pt x="493" y="121"/>
                    <a:pt x="493" y="121"/>
                  </a:cubicBezTo>
                  <a:cubicBezTo>
                    <a:pt x="492" y="120"/>
                    <a:pt x="490" y="120"/>
                    <a:pt x="489" y="120"/>
                  </a:cubicBezTo>
                  <a:cubicBezTo>
                    <a:pt x="489" y="120"/>
                    <a:pt x="489" y="120"/>
                    <a:pt x="489" y="120"/>
                  </a:cubicBezTo>
                  <a:cubicBezTo>
                    <a:pt x="490" y="120"/>
                    <a:pt x="490" y="120"/>
                    <a:pt x="490" y="120"/>
                  </a:cubicBezTo>
                  <a:cubicBezTo>
                    <a:pt x="492" y="118"/>
                    <a:pt x="493" y="116"/>
                    <a:pt x="494" y="115"/>
                  </a:cubicBezTo>
                  <a:cubicBezTo>
                    <a:pt x="494" y="116"/>
                    <a:pt x="493" y="120"/>
                    <a:pt x="493" y="120"/>
                  </a:cubicBezTo>
                  <a:close/>
                  <a:moveTo>
                    <a:pt x="457" y="346"/>
                  </a:moveTo>
                  <a:cubicBezTo>
                    <a:pt x="452" y="346"/>
                    <a:pt x="448" y="345"/>
                    <a:pt x="445" y="342"/>
                  </a:cubicBezTo>
                  <a:cubicBezTo>
                    <a:pt x="444" y="341"/>
                    <a:pt x="444" y="341"/>
                    <a:pt x="444" y="341"/>
                  </a:cubicBezTo>
                  <a:cubicBezTo>
                    <a:pt x="443" y="340"/>
                    <a:pt x="442" y="339"/>
                    <a:pt x="441" y="338"/>
                  </a:cubicBezTo>
                  <a:cubicBezTo>
                    <a:pt x="440" y="336"/>
                    <a:pt x="439" y="335"/>
                    <a:pt x="438" y="333"/>
                  </a:cubicBezTo>
                  <a:cubicBezTo>
                    <a:pt x="437" y="331"/>
                    <a:pt x="435" y="330"/>
                    <a:pt x="433" y="329"/>
                  </a:cubicBezTo>
                  <a:cubicBezTo>
                    <a:pt x="431" y="328"/>
                    <a:pt x="430" y="327"/>
                    <a:pt x="428" y="326"/>
                  </a:cubicBezTo>
                  <a:cubicBezTo>
                    <a:pt x="430" y="326"/>
                    <a:pt x="433" y="326"/>
                    <a:pt x="435" y="327"/>
                  </a:cubicBezTo>
                  <a:cubicBezTo>
                    <a:pt x="437" y="328"/>
                    <a:pt x="439" y="329"/>
                    <a:pt x="440" y="330"/>
                  </a:cubicBezTo>
                  <a:cubicBezTo>
                    <a:pt x="443" y="332"/>
                    <a:pt x="445" y="334"/>
                    <a:pt x="447" y="336"/>
                  </a:cubicBezTo>
                  <a:cubicBezTo>
                    <a:pt x="448" y="338"/>
                    <a:pt x="450" y="340"/>
                    <a:pt x="453" y="342"/>
                  </a:cubicBezTo>
                  <a:cubicBezTo>
                    <a:pt x="453" y="342"/>
                    <a:pt x="454" y="342"/>
                    <a:pt x="454" y="343"/>
                  </a:cubicBezTo>
                  <a:cubicBezTo>
                    <a:pt x="455" y="344"/>
                    <a:pt x="456" y="345"/>
                    <a:pt x="457" y="345"/>
                  </a:cubicBezTo>
                  <a:cubicBezTo>
                    <a:pt x="458" y="346"/>
                    <a:pt x="458" y="346"/>
                    <a:pt x="458" y="346"/>
                  </a:cubicBezTo>
                  <a:cubicBezTo>
                    <a:pt x="458" y="346"/>
                    <a:pt x="458" y="346"/>
                    <a:pt x="458" y="346"/>
                  </a:cubicBezTo>
                  <a:cubicBezTo>
                    <a:pt x="458" y="346"/>
                    <a:pt x="458" y="346"/>
                    <a:pt x="457" y="346"/>
                  </a:cubicBezTo>
                  <a:close/>
                  <a:moveTo>
                    <a:pt x="567" y="79"/>
                  </a:moveTo>
                  <a:cubicBezTo>
                    <a:pt x="566" y="78"/>
                    <a:pt x="566" y="78"/>
                    <a:pt x="566" y="78"/>
                  </a:cubicBezTo>
                  <a:cubicBezTo>
                    <a:pt x="565" y="77"/>
                    <a:pt x="564" y="76"/>
                    <a:pt x="563" y="75"/>
                  </a:cubicBezTo>
                  <a:cubicBezTo>
                    <a:pt x="563" y="75"/>
                    <a:pt x="563" y="75"/>
                    <a:pt x="563" y="74"/>
                  </a:cubicBezTo>
                  <a:cubicBezTo>
                    <a:pt x="563" y="74"/>
                    <a:pt x="564" y="74"/>
                    <a:pt x="564" y="74"/>
                  </a:cubicBezTo>
                  <a:cubicBezTo>
                    <a:pt x="567" y="75"/>
                    <a:pt x="572" y="79"/>
                    <a:pt x="573" y="81"/>
                  </a:cubicBezTo>
                  <a:cubicBezTo>
                    <a:pt x="573" y="82"/>
                    <a:pt x="573" y="82"/>
                    <a:pt x="573" y="82"/>
                  </a:cubicBezTo>
                  <a:cubicBezTo>
                    <a:pt x="573" y="82"/>
                    <a:pt x="573" y="82"/>
                    <a:pt x="572" y="82"/>
                  </a:cubicBezTo>
                  <a:cubicBezTo>
                    <a:pt x="571" y="82"/>
                    <a:pt x="569" y="81"/>
                    <a:pt x="567" y="79"/>
                  </a:cubicBezTo>
                  <a:close/>
                  <a:moveTo>
                    <a:pt x="573" y="140"/>
                  </a:moveTo>
                  <a:cubicBezTo>
                    <a:pt x="573" y="140"/>
                    <a:pt x="574" y="140"/>
                    <a:pt x="574" y="140"/>
                  </a:cubicBezTo>
                  <a:cubicBezTo>
                    <a:pt x="574" y="140"/>
                    <a:pt x="574" y="140"/>
                    <a:pt x="574" y="140"/>
                  </a:cubicBezTo>
                  <a:cubicBezTo>
                    <a:pt x="575" y="140"/>
                    <a:pt x="575" y="141"/>
                    <a:pt x="575" y="142"/>
                  </a:cubicBezTo>
                  <a:cubicBezTo>
                    <a:pt x="575" y="142"/>
                    <a:pt x="576" y="143"/>
                    <a:pt x="576" y="144"/>
                  </a:cubicBezTo>
                  <a:cubicBezTo>
                    <a:pt x="575" y="143"/>
                    <a:pt x="574" y="142"/>
                    <a:pt x="573" y="140"/>
                  </a:cubicBezTo>
                  <a:close/>
                  <a:moveTo>
                    <a:pt x="739" y="259"/>
                  </a:moveTo>
                  <a:cubicBezTo>
                    <a:pt x="739" y="260"/>
                    <a:pt x="738" y="261"/>
                    <a:pt x="736" y="261"/>
                  </a:cubicBezTo>
                  <a:cubicBezTo>
                    <a:pt x="736" y="261"/>
                    <a:pt x="735" y="261"/>
                    <a:pt x="735" y="261"/>
                  </a:cubicBezTo>
                  <a:cubicBezTo>
                    <a:pt x="734" y="261"/>
                    <a:pt x="732" y="261"/>
                    <a:pt x="732" y="261"/>
                  </a:cubicBezTo>
                  <a:cubicBezTo>
                    <a:pt x="731" y="261"/>
                    <a:pt x="731" y="261"/>
                    <a:pt x="730" y="261"/>
                  </a:cubicBezTo>
                  <a:cubicBezTo>
                    <a:pt x="726" y="263"/>
                    <a:pt x="723" y="268"/>
                    <a:pt x="720" y="273"/>
                  </a:cubicBezTo>
                  <a:cubicBezTo>
                    <a:pt x="719" y="273"/>
                    <a:pt x="719" y="273"/>
                    <a:pt x="719" y="273"/>
                  </a:cubicBezTo>
                  <a:cubicBezTo>
                    <a:pt x="720" y="271"/>
                    <a:pt x="720" y="270"/>
                    <a:pt x="719" y="267"/>
                  </a:cubicBezTo>
                  <a:cubicBezTo>
                    <a:pt x="717" y="262"/>
                    <a:pt x="714" y="259"/>
                    <a:pt x="710" y="258"/>
                  </a:cubicBezTo>
                  <a:cubicBezTo>
                    <a:pt x="712" y="254"/>
                    <a:pt x="713" y="250"/>
                    <a:pt x="713" y="246"/>
                  </a:cubicBezTo>
                  <a:cubicBezTo>
                    <a:pt x="716" y="247"/>
                    <a:pt x="719" y="249"/>
                    <a:pt x="723" y="250"/>
                  </a:cubicBezTo>
                  <a:cubicBezTo>
                    <a:pt x="725" y="250"/>
                    <a:pt x="727" y="251"/>
                    <a:pt x="729" y="251"/>
                  </a:cubicBezTo>
                  <a:cubicBezTo>
                    <a:pt x="731" y="251"/>
                    <a:pt x="734" y="251"/>
                    <a:pt x="736" y="252"/>
                  </a:cubicBezTo>
                  <a:cubicBezTo>
                    <a:pt x="738" y="253"/>
                    <a:pt x="739" y="255"/>
                    <a:pt x="740" y="257"/>
                  </a:cubicBezTo>
                  <a:cubicBezTo>
                    <a:pt x="740" y="258"/>
                    <a:pt x="740" y="259"/>
                    <a:pt x="739" y="259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17687327" y="3713860"/>
              <a:ext cx="92329" cy="69063"/>
            </a:xfrm>
            <a:custGeom>
              <a:avLst/>
              <a:gdLst>
                <a:gd name="T0" fmla="*/ 16 w 17"/>
                <a:gd name="T1" fmla="*/ 2 h 14"/>
                <a:gd name="T2" fmla="*/ 12 w 17"/>
                <a:gd name="T3" fmla="*/ 0 h 14"/>
                <a:gd name="T4" fmla="*/ 10 w 17"/>
                <a:gd name="T5" fmla="*/ 0 h 14"/>
                <a:gd name="T6" fmla="*/ 7 w 17"/>
                <a:gd name="T7" fmla="*/ 2 h 14"/>
                <a:gd name="T8" fmla="*/ 6 w 17"/>
                <a:gd name="T9" fmla="*/ 3 h 14"/>
                <a:gd name="T10" fmla="*/ 1 w 17"/>
                <a:gd name="T11" fmla="*/ 7 h 14"/>
                <a:gd name="T12" fmla="*/ 1 w 17"/>
                <a:gd name="T13" fmla="*/ 11 h 14"/>
                <a:gd name="T14" fmla="*/ 5 w 17"/>
                <a:gd name="T15" fmla="*/ 14 h 14"/>
                <a:gd name="T16" fmla="*/ 10 w 17"/>
                <a:gd name="T17" fmla="*/ 11 h 14"/>
                <a:gd name="T18" fmla="*/ 10 w 17"/>
                <a:gd name="T19" fmla="*/ 11 h 14"/>
                <a:gd name="T20" fmla="*/ 12 w 17"/>
                <a:gd name="T21" fmla="*/ 11 h 14"/>
                <a:gd name="T22" fmla="*/ 16 w 17"/>
                <a:gd name="T23" fmla="*/ 7 h 14"/>
                <a:gd name="T24" fmla="*/ 16 w 17"/>
                <a:gd name="T25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" h="14">
                  <a:moveTo>
                    <a:pt x="16" y="2"/>
                  </a:moveTo>
                  <a:cubicBezTo>
                    <a:pt x="15" y="0"/>
                    <a:pt x="14" y="0"/>
                    <a:pt x="12" y="0"/>
                  </a:cubicBezTo>
                  <a:cubicBezTo>
                    <a:pt x="12" y="0"/>
                    <a:pt x="11" y="0"/>
                    <a:pt x="10" y="0"/>
                  </a:cubicBezTo>
                  <a:cubicBezTo>
                    <a:pt x="9" y="0"/>
                    <a:pt x="8" y="1"/>
                    <a:pt x="7" y="2"/>
                  </a:cubicBezTo>
                  <a:cubicBezTo>
                    <a:pt x="7" y="2"/>
                    <a:pt x="6" y="3"/>
                    <a:pt x="6" y="3"/>
                  </a:cubicBezTo>
                  <a:cubicBezTo>
                    <a:pt x="4" y="3"/>
                    <a:pt x="2" y="4"/>
                    <a:pt x="1" y="7"/>
                  </a:cubicBezTo>
                  <a:cubicBezTo>
                    <a:pt x="0" y="7"/>
                    <a:pt x="0" y="9"/>
                    <a:pt x="1" y="11"/>
                  </a:cubicBezTo>
                  <a:cubicBezTo>
                    <a:pt x="2" y="14"/>
                    <a:pt x="4" y="14"/>
                    <a:pt x="5" y="14"/>
                  </a:cubicBezTo>
                  <a:cubicBezTo>
                    <a:pt x="7" y="14"/>
                    <a:pt x="9" y="12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1" y="11"/>
                    <a:pt x="11" y="11"/>
                    <a:pt x="12" y="11"/>
                  </a:cubicBezTo>
                  <a:cubicBezTo>
                    <a:pt x="13" y="10"/>
                    <a:pt x="15" y="9"/>
                    <a:pt x="16" y="7"/>
                  </a:cubicBezTo>
                  <a:cubicBezTo>
                    <a:pt x="17" y="6"/>
                    <a:pt x="17" y="3"/>
                    <a:pt x="16" y="2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0249962" y="6269195"/>
              <a:ext cx="108743" cy="102661"/>
            </a:xfrm>
            <a:custGeom>
              <a:avLst/>
              <a:gdLst>
                <a:gd name="T0" fmla="*/ 19 w 20"/>
                <a:gd name="T1" fmla="*/ 8 h 21"/>
                <a:gd name="T2" fmla="*/ 14 w 20"/>
                <a:gd name="T3" fmla="*/ 3 h 21"/>
                <a:gd name="T4" fmla="*/ 10 w 20"/>
                <a:gd name="T5" fmla="*/ 0 h 21"/>
                <a:gd name="T6" fmla="*/ 7 w 20"/>
                <a:gd name="T7" fmla="*/ 0 h 21"/>
                <a:gd name="T8" fmla="*/ 2 w 20"/>
                <a:gd name="T9" fmla="*/ 3 h 21"/>
                <a:gd name="T10" fmla="*/ 3 w 20"/>
                <a:gd name="T11" fmla="*/ 7 h 21"/>
                <a:gd name="T12" fmla="*/ 0 w 20"/>
                <a:gd name="T13" fmla="*/ 8 h 21"/>
                <a:gd name="T14" fmla="*/ 0 w 20"/>
                <a:gd name="T15" fmla="*/ 11 h 21"/>
                <a:gd name="T16" fmla="*/ 1 w 20"/>
                <a:gd name="T17" fmla="*/ 13 h 21"/>
                <a:gd name="T18" fmla="*/ 3 w 20"/>
                <a:gd name="T19" fmla="*/ 19 h 21"/>
                <a:gd name="T20" fmla="*/ 7 w 20"/>
                <a:gd name="T21" fmla="*/ 21 h 21"/>
                <a:gd name="T22" fmla="*/ 12 w 20"/>
                <a:gd name="T23" fmla="*/ 18 h 21"/>
                <a:gd name="T24" fmla="*/ 13 w 20"/>
                <a:gd name="T25" fmla="*/ 17 h 21"/>
                <a:gd name="T26" fmla="*/ 14 w 20"/>
                <a:gd name="T27" fmla="*/ 16 h 21"/>
                <a:gd name="T28" fmla="*/ 16 w 20"/>
                <a:gd name="T29" fmla="*/ 15 h 21"/>
                <a:gd name="T30" fmla="*/ 19 w 20"/>
                <a:gd name="T31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" h="21">
                  <a:moveTo>
                    <a:pt x="19" y="8"/>
                  </a:moveTo>
                  <a:cubicBezTo>
                    <a:pt x="18" y="5"/>
                    <a:pt x="16" y="3"/>
                    <a:pt x="14" y="3"/>
                  </a:cubicBezTo>
                  <a:cubicBezTo>
                    <a:pt x="13" y="2"/>
                    <a:pt x="12" y="1"/>
                    <a:pt x="10" y="0"/>
                  </a:cubicBezTo>
                  <a:cubicBezTo>
                    <a:pt x="9" y="0"/>
                    <a:pt x="8" y="0"/>
                    <a:pt x="7" y="0"/>
                  </a:cubicBezTo>
                  <a:cubicBezTo>
                    <a:pt x="5" y="0"/>
                    <a:pt x="3" y="1"/>
                    <a:pt x="2" y="3"/>
                  </a:cubicBezTo>
                  <a:cubicBezTo>
                    <a:pt x="2" y="5"/>
                    <a:pt x="2" y="6"/>
                    <a:pt x="3" y="7"/>
                  </a:cubicBezTo>
                  <a:cubicBezTo>
                    <a:pt x="3" y="7"/>
                    <a:pt x="0" y="8"/>
                    <a:pt x="0" y="8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2"/>
                    <a:pt x="1" y="13"/>
                  </a:cubicBezTo>
                  <a:cubicBezTo>
                    <a:pt x="1" y="15"/>
                    <a:pt x="1" y="17"/>
                    <a:pt x="3" y="19"/>
                  </a:cubicBezTo>
                  <a:cubicBezTo>
                    <a:pt x="4" y="20"/>
                    <a:pt x="6" y="21"/>
                    <a:pt x="7" y="21"/>
                  </a:cubicBezTo>
                  <a:cubicBezTo>
                    <a:pt x="10" y="21"/>
                    <a:pt x="11" y="19"/>
                    <a:pt x="12" y="18"/>
                  </a:cubicBezTo>
                  <a:cubicBezTo>
                    <a:pt x="12" y="17"/>
                    <a:pt x="12" y="17"/>
                    <a:pt x="13" y="17"/>
                  </a:cubicBezTo>
                  <a:cubicBezTo>
                    <a:pt x="13" y="16"/>
                    <a:pt x="13" y="16"/>
                    <a:pt x="14" y="16"/>
                  </a:cubicBezTo>
                  <a:cubicBezTo>
                    <a:pt x="14" y="16"/>
                    <a:pt x="15" y="16"/>
                    <a:pt x="16" y="15"/>
                  </a:cubicBezTo>
                  <a:cubicBezTo>
                    <a:pt x="19" y="14"/>
                    <a:pt x="20" y="11"/>
                    <a:pt x="19" y="8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1" name="Freeform 30"/>
            <p:cNvSpPr>
              <a:spLocks noEditPoints="1"/>
            </p:cNvSpPr>
            <p:nvPr/>
          </p:nvSpPr>
          <p:spPr bwMode="auto">
            <a:xfrm>
              <a:off x="20619277" y="6168400"/>
              <a:ext cx="1743987" cy="1597784"/>
            </a:xfrm>
            <a:custGeom>
              <a:avLst/>
              <a:gdLst>
                <a:gd name="T0" fmla="*/ 307 w 320"/>
                <a:gd name="T1" fmla="*/ 198 h 322"/>
                <a:gd name="T2" fmla="*/ 303 w 320"/>
                <a:gd name="T3" fmla="*/ 188 h 322"/>
                <a:gd name="T4" fmla="*/ 296 w 320"/>
                <a:gd name="T5" fmla="*/ 170 h 322"/>
                <a:gd name="T6" fmla="*/ 274 w 320"/>
                <a:gd name="T7" fmla="*/ 161 h 322"/>
                <a:gd name="T8" fmla="*/ 258 w 320"/>
                <a:gd name="T9" fmla="*/ 166 h 322"/>
                <a:gd name="T10" fmla="*/ 247 w 320"/>
                <a:gd name="T11" fmla="*/ 156 h 322"/>
                <a:gd name="T12" fmla="*/ 229 w 320"/>
                <a:gd name="T13" fmla="*/ 166 h 322"/>
                <a:gd name="T14" fmla="*/ 221 w 320"/>
                <a:gd name="T15" fmla="*/ 175 h 322"/>
                <a:gd name="T16" fmla="*/ 218 w 320"/>
                <a:gd name="T17" fmla="*/ 175 h 322"/>
                <a:gd name="T18" fmla="*/ 227 w 320"/>
                <a:gd name="T19" fmla="*/ 162 h 322"/>
                <a:gd name="T20" fmla="*/ 240 w 320"/>
                <a:gd name="T21" fmla="*/ 144 h 322"/>
                <a:gd name="T22" fmla="*/ 225 w 320"/>
                <a:gd name="T23" fmla="*/ 140 h 322"/>
                <a:gd name="T24" fmla="*/ 208 w 320"/>
                <a:gd name="T25" fmla="*/ 147 h 322"/>
                <a:gd name="T26" fmla="*/ 195 w 320"/>
                <a:gd name="T27" fmla="*/ 140 h 322"/>
                <a:gd name="T28" fmla="*/ 174 w 320"/>
                <a:gd name="T29" fmla="*/ 143 h 322"/>
                <a:gd name="T30" fmla="*/ 165 w 320"/>
                <a:gd name="T31" fmla="*/ 148 h 322"/>
                <a:gd name="T32" fmla="*/ 155 w 320"/>
                <a:gd name="T33" fmla="*/ 132 h 322"/>
                <a:gd name="T34" fmla="*/ 142 w 320"/>
                <a:gd name="T35" fmla="*/ 132 h 322"/>
                <a:gd name="T36" fmla="*/ 132 w 320"/>
                <a:gd name="T37" fmla="*/ 132 h 322"/>
                <a:gd name="T38" fmla="*/ 112 w 320"/>
                <a:gd name="T39" fmla="*/ 119 h 322"/>
                <a:gd name="T40" fmla="*/ 117 w 320"/>
                <a:gd name="T41" fmla="*/ 107 h 322"/>
                <a:gd name="T42" fmla="*/ 110 w 320"/>
                <a:gd name="T43" fmla="*/ 93 h 322"/>
                <a:gd name="T44" fmla="*/ 104 w 320"/>
                <a:gd name="T45" fmla="*/ 92 h 322"/>
                <a:gd name="T46" fmla="*/ 95 w 320"/>
                <a:gd name="T47" fmla="*/ 76 h 322"/>
                <a:gd name="T48" fmla="*/ 73 w 320"/>
                <a:gd name="T49" fmla="*/ 68 h 322"/>
                <a:gd name="T50" fmla="*/ 62 w 320"/>
                <a:gd name="T51" fmla="*/ 60 h 322"/>
                <a:gd name="T52" fmla="*/ 38 w 320"/>
                <a:gd name="T53" fmla="*/ 36 h 322"/>
                <a:gd name="T54" fmla="*/ 13 w 320"/>
                <a:gd name="T55" fmla="*/ 14 h 322"/>
                <a:gd name="T56" fmla="*/ 3 w 320"/>
                <a:gd name="T57" fmla="*/ 11 h 322"/>
                <a:gd name="T58" fmla="*/ 11 w 320"/>
                <a:gd name="T59" fmla="*/ 42 h 322"/>
                <a:gd name="T60" fmla="*/ 21 w 320"/>
                <a:gd name="T61" fmla="*/ 50 h 322"/>
                <a:gd name="T62" fmla="*/ 38 w 320"/>
                <a:gd name="T63" fmla="*/ 58 h 322"/>
                <a:gd name="T64" fmla="*/ 65 w 320"/>
                <a:gd name="T65" fmla="*/ 114 h 322"/>
                <a:gd name="T66" fmla="*/ 83 w 320"/>
                <a:gd name="T67" fmla="*/ 156 h 322"/>
                <a:gd name="T68" fmla="*/ 104 w 320"/>
                <a:gd name="T69" fmla="*/ 181 h 322"/>
                <a:gd name="T70" fmla="*/ 94 w 320"/>
                <a:gd name="T71" fmla="*/ 207 h 322"/>
                <a:gd name="T72" fmla="*/ 43 w 320"/>
                <a:gd name="T73" fmla="*/ 210 h 322"/>
                <a:gd name="T74" fmla="*/ 34 w 320"/>
                <a:gd name="T75" fmla="*/ 223 h 322"/>
                <a:gd name="T76" fmla="*/ 24 w 320"/>
                <a:gd name="T77" fmla="*/ 242 h 322"/>
                <a:gd name="T78" fmla="*/ 38 w 320"/>
                <a:gd name="T79" fmla="*/ 272 h 322"/>
                <a:gd name="T80" fmla="*/ 59 w 320"/>
                <a:gd name="T81" fmla="*/ 290 h 322"/>
                <a:gd name="T82" fmla="*/ 72 w 320"/>
                <a:gd name="T83" fmla="*/ 292 h 322"/>
                <a:gd name="T84" fmla="*/ 81 w 320"/>
                <a:gd name="T85" fmla="*/ 311 h 322"/>
                <a:gd name="T86" fmla="*/ 107 w 320"/>
                <a:gd name="T87" fmla="*/ 312 h 322"/>
                <a:gd name="T88" fmla="*/ 135 w 320"/>
                <a:gd name="T89" fmla="*/ 322 h 322"/>
                <a:gd name="T90" fmla="*/ 129 w 320"/>
                <a:gd name="T91" fmla="*/ 263 h 322"/>
                <a:gd name="T92" fmla="*/ 154 w 320"/>
                <a:gd name="T93" fmla="*/ 297 h 322"/>
                <a:gd name="T94" fmla="*/ 302 w 320"/>
                <a:gd name="T95" fmla="*/ 249 h 322"/>
                <a:gd name="T96" fmla="*/ 201 w 320"/>
                <a:gd name="T97" fmla="*/ 212 h 322"/>
                <a:gd name="T98" fmla="*/ 214 w 320"/>
                <a:gd name="T99" fmla="*/ 189 h 322"/>
                <a:gd name="T100" fmla="*/ 201 w 320"/>
                <a:gd name="T101" fmla="*/ 216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20" h="322">
                  <a:moveTo>
                    <a:pt x="320" y="207"/>
                  </a:moveTo>
                  <a:cubicBezTo>
                    <a:pt x="319" y="206"/>
                    <a:pt x="319" y="206"/>
                    <a:pt x="319" y="206"/>
                  </a:cubicBezTo>
                  <a:cubicBezTo>
                    <a:pt x="319" y="204"/>
                    <a:pt x="319" y="202"/>
                    <a:pt x="316" y="200"/>
                  </a:cubicBezTo>
                  <a:cubicBezTo>
                    <a:pt x="314" y="198"/>
                    <a:pt x="311" y="198"/>
                    <a:pt x="310" y="198"/>
                  </a:cubicBezTo>
                  <a:cubicBezTo>
                    <a:pt x="309" y="198"/>
                    <a:pt x="308" y="198"/>
                    <a:pt x="307" y="198"/>
                  </a:cubicBezTo>
                  <a:cubicBezTo>
                    <a:pt x="306" y="198"/>
                    <a:pt x="306" y="198"/>
                    <a:pt x="305" y="198"/>
                  </a:cubicBezTo>
                  <a:cubicBezTo>
                    <a:pt x="304" y="198"/>
                    <a:pt x="304" y="198"/>
                    <a:pt x="303" y="198"/>
                  </a:cubicBezTo>
                  <a:cubicBezTo>
                    <a:pt x="303" y="197"/>
                    <a:pt x="303" y="197"/>
                    <a:pt x="302" y="195"/>
                  </a:cubicBezTo>
                  <a:cubicBezTo>
                    <a:pt x="302" y="193"/>
                    <a:pt x="302" y="192"/>
                    <a:pt x="303" y="190"/>
                  </a:cubicBezTo>
                  <a:cubicBezTo>
                    <a:pt x="303" y="189"/>
                    <a:pt x="303" y="189"/>
                    <a:pt x="303" y="188"/>
                  </a:cubicBezTo>
                  <a:cubicBezTo>
                    <a:pt x="303" y="186"/>
                    <a:pt x="303" y="183"/>
                    <a:pt x="301" y="181"/>
                  </a:cubicBezTo>
                  <a:cubicBezTo>
                    <a:pt x="300" y="180"/>
                    <a:pt x="299" y="180"/>
                    <a:pt x="298" y="180"/>
                  </a:cubicBezTo>
                  <a:cubicBezTo>
                    <a:pt x="298" y="180"/>
                    <a:pt x="298" y="180"/>
                    <a:pt x="298" y="180"/>
                  </a:cubicBezTo>
                  <a:cubicBezTo>
                    <a:pt x="298" y="179"/>
                    <a:pt x="298" y="179"/>
                    <a:pt x="298" y="179"/>
                  </a:cubicBezTo>
                  <a:cubicBezTo>
                    <a:pt x="299" y="177"/>
                    <a:pt x="300" y="174"/>
                    <a:pt x="296" y="170"/>
                  </a:cubicBezTo>
                  <a:cubicBezTo>
                    <a:pt x="293" y="167"/>
                    <a:pt x="290" y="166"/>
                    <a:pt x="286" y="164"/>
                  </a:cubicBezTo>
                  <a:cubicBezTo>
                    <a:pt x="284" y="164"/>
                    <a:pt x="283" y="163"/>
                    <a:pt x="281" y="163"/>
                  </a:cubicBezTo>
                  <a:cubicBezTo>
                    <a:pt x="281" y="163"/>
                    <a:pt x="281" y="163"/>
                    <a:pt x="280" y="163"/>
                  </a:cubicBezTo>
                  <a:cubicBezTo>
                    <a:pt x="279" y="163"/>
                    <a:pt x="279" y="163"/>
                    <a:pt x="278" y="162"/>
                  </a:cubicBezTo>
                  <a:cubicBezTo>
                    <a:pt x="277" y="162"/>
                    <a:pt x="275" y="162"/>
                    <a:pt x="274" y="161"/>
                  </a:cubicBezTo>
                  <a:cubicBezTo>
                    <a:pt x="273" y="161"/>
                    <a:pt x="272" y="161"/>
                    <a:pt x="272" y="161"/>
                  </a:cubicBezTo>
                  <a:cubicBezTo>
                    <a:pt x="271" y="161"/>
                    <a:pt x="269" y="161"/>
                    <a:pt x="268" y="161"/>
                  </a:cubicBezTo>
                  <a:cubicBezTo>
                    <a:pt x="268" y="161"/>
                    <a:pt x="267" y="161"/>
                    <a:pt x="267" y="161"/>
                  </a:cubicBezTo>
                  <a:cubicBezTo>
                    <a:pt x="264" y="161"/>
                    <a:pt x="261" y="163"/>
                    <a:pt x="261" y="163"/>
                  </a:cubicBezTo>
                  <a:cubicBezTo>
                    <a:pt x="260" y="164"/>
                    <a:pt x="259" y="165"/>
                    <a:pt x="258" y="166"/>
                  </a:cubicBezTo>
                  <a:cubicBezTo>
                    <a:pt x="258" y="165"/>
                    <a:pt x="257" y="164"/>
                    <a:pt x="257" y="163"/>
                  </a:cubicBezTo>
                  <a:cubicBezTo>
                    <a:pt x="256" y="161"/>
                    <a:pt x="254" y="161"/>
                    <a:pt x="253" y="160"/>
                  </a:cubicBezTo>
                  <a:cubicBezTo>
                    <a:pt x="253" y="160"/>
                    <a:pt x="252" y="160"/>
                    <a:pt x="252" y="159"/>
                  </a:cubicBezTo>
                  <a:cubicBezTo>
                    <a:pt x="252" y="159"/>
                    <a:pt x="251" y="159"/>
                    <a:pt x="251" y="158"/>
                  </a:cubicBezTo>
                  <a:cubicBezTo>
                    <a:pt x="250" y="158"/>
                    <a:pt x="249" y="157"/>
                    <a:pt x="247" y="156"/>
                  </a:cubicBezTo>
                  <a:cubicBezTo>
                    <a:pt x="246" y="156"/>
                    <a:pt x="244" y="155"/>
                    <a:pt x="242" y="155"/>
                  </a:cubicBezTo>
                  <a:cubicBezTo>
                    <a:pt x="241" y="155"/>
                    <a:pt x="240" y="155"/>
                    <a:pt x="239" y="155"/>
                  </a:cubicBezTo>
                  <a:cubicBezTo>
                    <a:pt x="234" y="156"/>
                    <a:pt x="233" y="158"/>
                    <a:pt x="231" y="162"/>
                  </a:cubicBezTo>
                  <a:cubicBezTo>
                    <a:pt x="231" y="163"/>
                    <a:pt x="231" y="163"/>
                    <a:pt x="231" y="163"/>
                  </a:cubicBezTo>
                  <a:cubicBezTo>
                    <a:pt x="230" y="164"/>
                    <a:pt x="230" y="165"/>
                    <a:pt x="229" y="166"/>
                  </a:cubicBezTo>
                  <a:cubicBezTo>
                    <a:pt x="229" y="166"/>
                    <a:pt x="229" y="166"/>
                    <a:pt x="229" y="167"/>
                  </a:cubicBezTo>
                  <a:cubicBezTo>
                    <a:pt x="228" y="167"/>
                    <a:pt x="228" y="167"/>
                    <a:pt x="227" y="167"/>
                  </a:cubicBezTo>
                  <a:cubicBezTo>
                    <a:pt x="226" y="168"/>
                    <a:pt x="225" y="170"/>
                    <a:pt x="224" y="171"/>
                  </a:cubicBezTo>
                  <a:cubicBezTo>
                    <a:pt x="224" y="172"/>
                    <a:pt x="223" y="173"/>
                    <a:pt x="223" y="173"/>
                  </a:cubicBezTo>
                  <a:cubicBezTo>
                    <a:pt x="222" y="174"/>
                    <a:pt x="222" y="175"/>
                    <a:pt x="221" y="175"/>
                  </a:cubicBezTo>
                  <a:cubicBezTo>
                    <a:pt x="220" y="176"/>
                    <a:pt x="219" y="177"/>
                    <a:pt x="218" y="178"/>
                  </a:cubicBezTo>
                  <a:cubicBezTo>
                    <a:pt x="218" y="178"/>
                    <a:pt x="218" y="178"/>
                    <a:pt x="218" y="178"/>
                  </a:cubicBezTo>
                  <a:cubicBezTo>
                    <a:pt x="218" y="178"/>
                    <a:pt x="218" y="177"/>
                    <a:pt x="218" y="177"/>
                  </a:cubicBezTo>
                  <a:cubicBezTo>
                    <a:pt x="218" y="176"/>
                    <a:pt x="218" y="176"/>
                    <a:pt x="218" y="175"/>
                  </a:cubicBezTo>
                  <a:cubicBezTo>
                    <a:pt x="218" y="175"/>
                    <a:pt x="218" y="175"/>
                    <a:pt x="218" y="175"/>
                  </a:cubicBezTo>
                  <a:cubicBezTo>
                    <a:pt x="219" y="174"/>
                    <a:pt x="219" y="172"/>
                    <a:pt x="219" y="172"/>
                  </a:cubicBezTo>
                  <a:cubicBezTo>
                    <a:pt x="220" y="172"/>
                    <a:pt x="220" y="171"/>
                    <a:pt x="221" y="171"/>
                  </a:cubicBezTo>
                  <a:cubicBezTo>
                    <a:pt x="222" y="171"/>
                    <a:pt x="223" y="170"/>
                    <a:pt x="224" y="169"/>
                  </a:cubicBezTo>
                  <a:cubicBezTo>
                    <a:pt x="226" y="168"/>
                    <a:pt x="226" y="166"/>
                    <a:pt x="227" y="164"/>
                  </a:cubicBezTo>
                  <a:cubicBezTo>
                    <a:pt x="227" y="163"/>
                    <a:pt x="227" y="163"/>
                    <a:pt x="227" y="162"/>
                  </a:cubicBezTo>
                  <a:cubicBezTo>
                    <a:pt x="228" y="161"/>
                    <a:pt x="230" y="160"/>
                    <a:pt x="231" y="159"/>
                  </a:cubicBezTo>
                  <a:cubicBezTo>
                    <a:pt x="232" y="158"/>
                    <a:pt x="232" y="158"/>
                    <a:pt x="232" y="158"/>
                  </a:cubicBezTo>
                  <a:cubicBezTo>
                    <a:pt x="232" y="157"/>
                    <a:pt x="233" y="157"/>
                    <a:pt x="234" y="156"/>
                  </a:cubicBezTo>
                  <a:cubicBezTo>
                    <a:pt x="235" y="155"/>
                    <a:pt x="237" y="154"/>
                    <a:pt x="239" y="152"/>
                  </a:cubicBezTo>
                  <a:cubicBezTo>
                    <a:pt x="241" y="149"/>
                    <a:pt x="241" y="146"/>
                    <a:pt x="240" y="144"/>
                  </a:cubicBezTo>
                  <a:cubicBezTo>
                    <a:pt x="240" y="142"/>
                    <a:pt x="238" y="141"/>
                    <a:pt x="236" y="140"/>
                  </a:cubicBezTo>
                  <a:cubicBezTo>
                    <a:pt x="235" y="140"/>
                    <a:pt x="234" y="139"/>
                    <a:pt x="233" y="139"/>
                  </a:cubicBezTo>
                  <a:cubicBezTo>
                    <a:pt x="231" y="139"/>
                    <a:pt x="229" y="140"/>
                    <a:pt x="228" y="141"/>
                  </a:cubicBezTo>
                  <a:cubicBezTo>
                    <a:pt x="227" y="141"/>
                    <a:pt x="227" y="141"/>
                    <a:pt x="227" y="141"/>
                  </a:cubicBezTo>
                  <a:cubicBezTo>
                    <a:pt x="227" y="141"/>
                    <a:pt x="226" y="140"/>
                    <a:pt x="225" y="140"/>
                  </a:cubicBezTo>
                  <a:cubicBezTo>
                    <a:pt x="225" y="140"/>
                    <a:pt x="223" y="139"/>
                    <a:pt x="222" y="139"/>
                  </a:cubicBezTo>
                  <a:cubicBezTo>
                    <a:pt x="221" y="138"/>
                    <a:pt x="221" y="138"/>
                    <a:pt x="220" y="138"/>
                  </a:cubicBezTo>
                  <a:cubicBezTo>
                    <a:pt x="217" y="138"/>
                    <a:pt x="213" y="140"/>
                    <a:pt x="211" y="143"/>
                  </a:cubicBezTo>
                  <a:cubicBezTo>
                    <a:pt x="211" y="144"/>
                    <a:pt x="211" y="144"/>
                    <a:pt x="211" y="144"/>
                  </a:cubicBezTo>
                  <a:cubicBezTo>
                    <a:pt x="210" y="146"/>
                    <a:pt x="209" y="147"/>
                    <a:pt x="208" y="147"/>
                  </a:cubicBezTo>
                  <a:cubicBezTo>
                    <a:pt x="207" y="147"/>
                    <a:pt x="207" y="147"/>
                    <a:pt x="207" y="147"/>
                  </a:cubicBezTo>
                  <a:cubicBezTo>
                    <a:pt x="206" y="147"/>
                    <a:pt x="204" y="147"/>
                    <a:pt x="204" y="146"/>
                  </a:cubicBezTo>
                  <a:cubicBezTo>
                    <a:pt x="203" y="146"/>
                    <a:pt x="203" y="145"/>
                    <a:pt x="203" y="145"/>
                  </a:cubicBezTo>
                  <a:cubicBezTo>
                    <a:pt x="202" y="144"/>
                    <a:pt x="201" y="142"/>
                    <a:pt x="199" y="141"/>
                  </a:cubicBezTo>
                  <a:cubicBezTo>
                    <a:pt x="198" y="140"/>
                    <a:pt x="196" y="140"/>
                    <a:pt x="195" y="140"/>
                  </a:cubicBezTo>
                  <a:cubicBezTo>
                    <a:pt x="192" y="140"/>
                    <a:pt x="189" y="141"/>
                    <a:pt x="187" y="143"/>
                  </a:cubicBezTo>
                  <a:cubicBezTo>
                    <a:pt x="186" y="143"/>
                    <a:pt x="185" y="144"/>
                    <a:pt x="184" y="144"/>
                  </a:cubicBezTo>
                  <a:cubicBezTo>
                    <a:pt x="183" y="144"/>
                    <a:pt x="182" y="144"/>
                    <a:pt x="182" y="143"/>
                  </a:cubicBezTo>
                  <a:cubicBezTo>
                    <a:pt x="181" y="143"/>
                    <a:pt x="179" y="142"/>
                    <a:pt x="177" y="142"/>
                  </a:cubicBezTo>
                  <a:cubicBezTo>
                    <a:pt x="176" y="142"/>
                    <a:pt x="175" y="142"/>
                    <a:pt x="174" y="143"/>
                  </a:cubicBezTo>
                  <a:cubicBezTo>
                    <a:pt x="172" y="144"/>
                    <a:pt x="171" y="145"/>
                    <a:pt x="170" y="147"/>
                  </a:cubicBezTo>
                  <a:cubicBezTo>
                    <a:pt x="169" y="148"/>
                    <a:pt x="169" y="149"/>
                    <a:pt x="168" y="149"/>
                  </a:cubicBezTo>
                  <a:cubicBezTo>
                    <a:pt x="168" y="149"/>
                    <a:pt x="167" y="149"/>
                    <a:pt x="166" y="149"/>
                  </a:cubicBezTo>
                  <a:cubicBezTo>
                    <a:pt x="165" y="149"/>
                    <a:pt x="165" y="149"/>
                    <a:pt x="165" y="149"/>
                  </a:cubicBezTo>
                  <a:cubicBezTo>
                    <a:pt x="165" y="148"/>
                    <a:pt x="165" y="148"/>
                    <a:pt x="165" y="148"/>
                  </a:cubicBezTo>
                  <a:cubicBezTo>
                    <a:pt x="165" y="146"/>
                    <a:pt x="166" y="141"/>
                    <a:pt x="162" y="139"/>
                  </a:cubicBezTo>
                  <a:cubicBezTo>
                    <a:pt x="162" y="138"/>
                    <a:pt x="161" y="138"/>
                    <a:pt x="160" y="138"/>
                  </a:cubicBezTo>
                  <a:cubicBezTo>
                    <a:pt x="160" y="138"/>
                    <a:pt x="160" y="137"/>
                    <a:pt x="160" y="137"/>
                  </a:cubicBezTo>
                  <a:cubicBezTo>
                    <a:pt x="160" y="136"/>
                    <a:pt x="160" y="134"/>
                    <a:pt x="158" y="133"/>
                  </a:cubicBezTo>
                  <a:cubicBezTo>
                    <a:pt x="157" y="132"/>
                    <a:pt x="156" y="132"/>
                    <a:pt x="155" y="132"/>
                  </a:cubicBezTo>
                  <a:cubicBezTo>
                    <a:pt x="153" y="132"/>
                    <a:pt x="152" y="132"/>
                    <a:pt x="151" y="133"/>
                  </a:cubicBezTo>
                  <a:cubicBezTo>
                    <a:pt x="151" y="133"/>
                    <a:pt x="151" y="133"/>
                    <a:pt x="151" y="133"/>
                  </a:cubicBezTo>
                  <a:cubicBezTo>
                    <a:pt x="151" y="133"/>
                    <a:pt x="150" y="133"/>
                    <a:pt x="150" y="133"/>
                  </a:cubicBezTo>
                  <a:cubicBezTo>
                    <a:pt x="149" y="133"/>
                    <a:pt x="148" y="133"/>
                    <a:pt x="148" y="132"/>
                  </a:cubicBezTo>
                  <a:cubicBezTo>
                    <a:pt x="146" y="132"/>
                    <a:pt x="144" y="132"/>
                    <a:pt x="142" y="132"/>
                  </a:cubicBezTo>
                  <a:cubicBezTo>
                    <a:pt x="141" y="132"/>
                    <a:pt x="140" y="132"/>
                    <a:pt x="139" y="132"/>
                  </a:cubicBezTo>
                  <a:cubicBezTo>
                    <a:pt x="138" y="132"/>
                    <a:pt x="138" y="132"/>
                    <a:pt x="138" y="132"/>
                  </a:cubicBezTo>
                  <a:cubicBezTo>
                    <a:pt x="137" y="132"/>
                    <a:pt x="137" y="131"/>
                    <a:pt x="136" y="131"/>
                  </a:cubicBezTo>
                  <a:cubicBezTo>
                    <a:pt x="134" y="131"/>
                    <a:pt x="134" y="132"/>
                    <a:pt x="133" y="132"/>
                  </a:cubicBezTo>
                  <a:cubicBezTo>
                    <a:pt x="132" y="132"/>
                    <a:pt x="132" y="132"/>
                    <a:pt x="132" y="132"/>
                  </a:cubicBezTo>
                  <a:cubicBezTo>
                    <a:pt x="131" y="132"/>
                    <a:pt x="129" y="131"/>
                    <a:pt x="128" y="129"/>
                  </a:cubicBezTo>
                  <a:cubicBezTo>
                    <a:pt x="126" y="127"/>
                    <a:pt x="124" y="126"/>
                    <a:pt x="121" y="124"/>
                  </a:cubicBezTo>
                  <a:cubicBezTo>
                    <a:pt x="120" y="124"/>
                    <a:pt x="119" y="123"/>
                    <a:pt x="118" y="123"/>
                  </a:cubicBezTo>
                  <a:cubicBezTo>
                    <a:pt x="117" y="123"/>
                    <a:pt x="116" y="123"/>
                    <a:pt x="116" y="122"/>
                  </a:cubicBezTo>
                  <a:cubicBezTo>
                    <a:pt x="115" y="121"/>
                    <a:pt x="114" y="120"/>
                    <a:pt x="112" y="119"/>
                  </a:cubicBezTo>
                  <a:cubicBezTo>
                    <a:pt x="111" y="119"/>
                    <a:pt x="111" y="118"/>
                    <a:pt x="111" y="118"/>
                  </a:cubicBezTo>
                  <a:cubicBezTo>
                    <a:pt x="110" y="118"/>
                    <a:pt x="110" y="118"/>
                    <a:pt x="110" y="118"/>
                  </a:cubicBezTo>
                  <a:cubicBezTo>
                    <a:pt x="111" y="117"/>
                    <a:pt x="111" y="117"/>
                    <a:pt x="111" y="117"/>
                  </a:cubicBezTo>
                  <a:cubicBezTo>
                    <a:pt x="112" y="117"/>
                    <a:pt x="112" y="117"/>
                    <a:pt x="112" y="117"/>
                  </a:cubicBezTo>
                  <a:cubicBezTo>
                    <a:pt x="115" y="115"/>
                    <a:pt x="117" y="109"/>
                    <a:pt x="117" y="107"/>
                  </a:cubicBezTo>
                  <a:cubicBezTo>
                    <a:pt x="117" y="107"/>
                    <a:pt x="118" y="106"/>
                    <a:pt x="118" y="105"/>
                  </a:cubicBezTo>
                  <a:cubicBezTo>
                    <a:pt x="118" y="105"/>
                    <a:pt x="118" y="105"/>
                    <a:pt x="118" y="105"/>
                  </a:cubicBezTo>
                  <a:cubicBezTo>
                    <a:pt x="119" y="105"/>
                    <a:pt x="119" y="104"/>
                    <a:pt x="119" y="102"/>
                  </a:cubicBezTo>
                  <a:cubicBezTo>
                    <a:pt x="120" y="99"/>
                    <a:pt x="118" y="97"/>
                    <a:pt x="116" y="95"/>
                  </a:cubicBezTo>
                  <a:cubicBezTo>
                    <a:pt x="114" y="94"/>
                    <a:pt x="112" y="93"/>
                    <a:pt x="110" y="93"/>
                  </a:cubicBezTo>
                  <a:cubicBezTo>
                    <a:pt x="109" y="93"/>
                    <a:pt x="108" y="93"/>
                    <a:pt x="107" y="94"/>
                  </a:cubicBezTo>
                  <a:cubicBezTo>
                    <a:pt x="107" y="94"/>
                    <a:pt x="106" y="94"/>
                    <a:pt x="105" y="94"/>
                  </a:cubicBezTo>
                  <a:cubicBezTo>
                    <a:pt x="105" y="94"/>
                    <a:pt x="105" y="94"/>
                    <a:pt x="105" y="94"/>
                  </a:cubicBezTo>
                  <a:cubicBezTo>
                    <a:pt x="105" y="94"/>
                    <a:pt x="105" y="94"/>
                    <a:pt x="105" y="94"/>
                  </a:cubicBezTo>
                  <a:cubicBezTo>
                    <a:pt x="104" y="94"/>
                    <a:pt x="104" y="93"/>
                    <a:pt x="104" y="92"/>
                  </a:cubicBezTo>
                  <a:cubicBezTo>
                    <a:pt x="104" y="92"/>
                    <a:pt x="104" y="92"/>
                    <a:pt x="104" y="92"/>
                  </a:cubicBezTo>
                  <a:cubicBezTo>
                    <a:pt x="102" y="89"/>
                    <a:pt x="100" y="88"/>
                    <a:pt x="98" y="88"/>
                  </a:cubicBezTo>
                  <a:cubicBezTo>
                    <a:pt x="98" y="88"/>
                    <a:pt x="97" y="88"/>
                    <a:pt x="97" y="88"/>
                  </a:cubicBezTo>
                  <a:cubicBezTo>
                    <a:pt x="97" y="87"/>
                    <a:pt x="97" y="86"/>
                    <a:pt x="97" y="84"/>
                  </a:cubicBezTo>
                  <a:cubicBezTo>
                    <a:pt x="97" y="82"/>
                    <a:pt x="97" y="79"/>
                    <a:pt x="95" y="76"/>
                  </a:cubicBezTo>
                  <a:cubicBezTo>
                    <a:pt x="91" y="73"/>
                    <a:pt x="87" y="73"/>
                    <a:pt x="84" y="73"/>
                  </a:cubicBezTo>
                  <a:cubicBezTo>
                    <a:pt x="84" y="73"/>
                    <a:pt x="82" y="73"/>
                    <a:pt x="82" y="73"/>
                  </a:cubicBezTo>
                  <a:cubicBezTo>
                    <a:pt x="82" y="71"/>
                    <a:pt x="82" y="71"/>
                    <a:pt x="81" y="70"/>
                  </a:cubicBezTo>
                  <a:cubicBezTo>
                    <a:pt x="80" y="69"/>
                    <a:pt x="78" y="68"/>
                    <a:pt x="75" y="68"/>
                  </a:cubicBezTo>
                  <a:cubicBezTo>
                    <a:pt x="74" y="68"/>
                    <a:pt x="74" y="68"/>
                    <a:pt x="73" y="68"/>
                  </a:cubicBezTo>
                  <a:cubicBezTo>
                    <a:pt x="73" y="67"/>
                    <a:pt x="73" y="66"/>
                    <a:pt x="73" y="65"/>
                  </a:cubicBezTo>
                  <a:cubicBezTo>
                    <a:pt x="74" y="64"/>
                    <a:pt x="73" y="63"/>
                    <a:pt x="73" y="62"/>
                  </a:cubicBezTo>
                  <a:cubicBezTo>
                    <a:pt x="71" y="60"/>
                    <a:pt x="67" y="59"/>
                    <a:pt x="64" y="59"/>
                  </a:cubicBezTo>
                  <a:cubicBezTo>
                    <a:pt x="63" y="59"/>
                    <a:pt x="63" y="59"/>
                    <a:pt x="62" y="60"/>
                  </a:cubicBezTo>
                  <a:cubicBezTo>
                    <a:pt x="62" y="60"/>
                    <a:pt x="62" y="60"/>
                    <a:pt x="62" y="60"/>
                  </a:cubicBezTo>
                  <a:cubicBezTo>
                    <a:pt x="63" y="58"/>
                    <a:pt x="64" y="55"/>
                    <a:pt x="63" y="52"/>
                  </a:cubicBezTo>
                  <a:cubicBezTo>
                    <a:pt x="61" y="48"/>
                    <a:pt x="56" y="46"/>
                    <a:pt x="52" y="45"/>
                  </a:cubicBezTo>
                  <a:cubicBezTo>
                    <a:pt x="51" y="44"/>
                    <a:pt x="51" y="43"/>
                    <a:pt x="51" y="43"/>
                  </a:cubicBezTo>
                  <a:cubicBezTo>
                    <a:pt x="50" y="40"/>
                    <a:pt x="46" y="39"/>
                    <a:pt x="44" y="38"/>
                  </a:cubicBezTo>
                  <a:cubicBezTo>
                    <a:pt x="42" y="38"/>
                    <a:pt x="40" y="37"/>
                    <a:pt x="38" y="36"/>
                  </a:cubicBezTo>
                  <a:cubicBezTo>
                    <a:pt x="35" y="35"/>
                    <a:pt x="31" y="32"/>
                    <a:pt x="28" y="30"/>
                  </a:cubicBezTo>
                  <a:cubicBezTo>
                    <a:pt x="26" y="29"/>
                    <a:pt x="25" y="27"/>
                    <a:pt x="23" y="25"/>
                  </a:cubicBezTo>
                  <a:cubicBezTo>
                    <a:pt x="22" y="25"/>
                    <a:pt x="22" y="24"/>
                    <a:pt x="21" y="23"/>
                  </a:cubicBezTo>
                  <a:cubicBezTo>
                    <a:pt x="20" y="22"/>
                    <a:pt x="19" y="20"/>
                    <a:pt x="18" y="19"/>
                  </a:cubicBezTo>
                  <a:cubicBezTo>
                    <a:pt x="16" y="18"/>
                    <a:pt x="14" y="16"/>
                    <a:pt x="13" y="14"/>
                  </a:cubicBezTo>
                  <a:cubicBezTo>
                    <a:pt x="12" y="13"/>
                    <a:pt x="12" y="12"/>
                    <a:pt x="12" y="12"/>
                  </a:cubicBezTo>
                  <a:cubicBezTo>
                    <a:pt x="11" y="9"/>
                    <a:pt x="9" y="6"/>
                    <a:pt x="6" y="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8"/>
                    <a:pt x="3" y="11"/>
                    <a:pt x="3" y="11"/>
                  </a:cubicBezTo>
                  <a:cubicBezTo>
                    <a:pt x="3" y="14"/>
                    <a:pt x="4" y="17"/>
                    <a:pt x="5" y="20"/>
                  </a:cubicBezTo>
                  <a:cubicBezTo>
                    <a:pt x="6" y="22"/>
                    <a:pt x="6" y="24"/>
                    <a:pt x="7" y="28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9" y="37"/>
                    <a:pt x="10" y="40"/>
                    <a:pt x="11" y="42"/>
                  </a:cubicBezTo>
                  <a:cubicBezTo>
                    <a:pt x="13" y="43"/>
                    <a:pt x="14" y="43"/>
                    <a:pt x="14" y="43"/>
                  </a:cubicBezTo>
                  <a:cubicBezTo>
                    <a:pt x="15" y="43"/>
                    <a:pt x="15" y="43"/>
                    <a:pt x="16" y="43"/>
                  </a:cubicBezTo>
                  <a:cubicBezTo>
                    <a:pt x="16" y="43"/>
                    <a:pt x="17" y="43"/>
                    <a:pt x="17" y="43"/>
                  </a:cubicBezTo>
                  <a:cubicBezTo>
                    <a:pt x="19" y="43"/>
                    <a:pt x="20" y="43"/>
                    <a:pt x="21" y="45"/>
                  </a:cubicBezTo>
                  <a:cubicBezTo>
                    <a:pt x="22" y="46"/>
                    <a:pt x="22" y="48"/>
                    <a:pt x="21" y="50"/>
                  </a:cubicBezTo>
                  <a:cubicBezTo>
                    <a:pt x="21" y="52"/>
                    <a:pt x="20" y="54"/>
                    <a:pt x="21" y="55"/>
                  </a:cubicBezTo>
                  <a:cubicBezTo>
                    <a:pt x="21" y="57"/>
                    <a:pt x="22" y="60"/>
                    <a:pt x="25" y="60"/>
                  </a:cubicBezTo>
                  <a:cubicBezTo>
                    <a:pt x="26" y="60"/>
                    <a:pt x="28" y="59"/>
                    <a:pt x="29" y="59"/>
                  </a:cubicBezTo>
                  <a:cubicBezTo>
                    <a:pt x="31" y="58"/>
                    <a:pt x="33" y="58"/>
                    <a:pt x="35" y="58"/>
                  </a:cubicBezTo>
                  <a:cubicBezTo>
                    <a:pt x="36" y="58"/>
                    <a:pt x="37" y="58"/>
                    <a:pt x="38" y="58"/>
                  </a:cubicBezTo>
                  <a:cubicBezTo>
                    <a:pt x="45" y="61"/>
                    <a:pt x="45" y="67"/>
                    <a:pt x="44" y="76"/>
                  </a:cubicBezTo>
                  <a:cubicBezTo>
                    <a:pt x="43" y="83"/>
                    <a:pt x="42" y="90"/>
                    <a:pt x="49" y="93"/>
                  </a:cubicBezTo>
                  <a:cubicBezTo>
                    <a:pt x="52" y="95"/>
                    <a:pt x="54" y="95"/>
                    <a:pt x="56" y="96"/>
                  </a:cubicBezTo>
                  <a:cubicBezTo>
                    <a:pt x="61" y="96"/>
                    <a:pt x="63" y="97"/>
                    <a:pt x="65" y="105"/>
                  </a:cubicBezTo>
                  <a:cubicBezTo>
                    <a:pt x="65" y="108"/>
                    <a:pt x="65" y="111"/>
                    <a:pt x="65" y="114"/>
                  </a:cubicBezTo>
                  <a:cubicBezTo>
                    <a:pt x="65" y="118"/>
                    <a:pt x="65" y="122"/>
                    <a:pt x="66" y="127"/>
                  </a:cubicBezTo>
                  <a:cubicBezTo>
                    <a:pt x="67" y="129"/>
                    <a:pt x="67" y="132"/>
                    <a:pt x="67" y="136"/>
                  </a:cubicBezTo>
                  <a:cubicBezTo>
                    <a:pt x="68" y="141"/>
                    <a:pt x="68" y="146"/>
                    <a:pt x="70" y="150"/>
                  </a:cubicBezTo>
                  <a:cubicBezTo>
                    <a:pt x="72" y="154"/>
                    <a:pt x="75" y="154"/>
                    <a:pt x="78" y="154"/>
                  </a:cubicBezTo>
                  <a:cubicBezTo>
                    <a:pt x="79" y="155"/>
                    <a:pt x="81" y="155"/>
                    <a:pt x="83" y="156"/>
                  </a:cubicBezTo>
                  <a:cubicBezTo>
                    <a:pt x="85" y="157"/>
                    <a:pt x="86" y="158"/>
                    <a:pt x="87" y="160"/>
                  </a:cubicBezTo>
                  <a:cubicBezTo>
                    <a:pt x="88" y="161"/>
                    <a:pt x="89" y="162"/>
                    <a:pt x="90" y="163"/>
                  </a:cubicBezTo>
                  <a:cubicBezTo>
                    <a:pt x="92" y="165"/>
                    <a:pt x="94" y="166"/>
                    <a:pt x="96" y="167"/>
                  </a:cubicBezTo>
                  <a:cubicBezTo>
                    <a:pt x="100" y="169"/>
                    <a:pt x="104" y="170"/>
                    <a:pt x="104" y="176"/>
                  </a:cubicBezTo>
                  <a:cubicBezTo>
                    <a:pt x="104" y="178"/>
                    <a:pt x="104" y="179"/>
                    <a:pt x="104" y="181"/>
                  </a:cubicBezTo>
                  <a:cubicBezTo>
                    <a:pt x="103" y="183"/>
                    <a:pt x="103" y="185"/>
                    <a:pt x="104" y="188"/>
                  </a:cubicBezTo>
                  <a:cubicBezTo>
                    <a:pt x="105" y="190"/>
                    <a:pt x="106" y="191"/>
                    <a:pt x="107" y="192"/>
                  </a:cubicBezTo>
                  <a:cubicBezTo>
                    <a:pt x="108" y="194"/>
                    <a:pt x="110" y="196"/>
                    <a:pt x="110" y="199"/>
                  </a:cubicBezTo>
                  <a:cubicBezTo>
                    <a:pt x="110" y="205"/>
                    <a:pt x="106" y="207"/>
                    <a:pt x="98" y="207"/>
                  </a:cubicBezTo>
                  <a:cubicBezTo>
                    <a:pt x="94" y="207"/>
                    <a:pt x="94" y="207"/>
                    <a:pt x="94" y="207"/>
                  </a:cubicBezTo>
                  <a:cubicBezTo>
                    <a:pt x="92" y="207"/>
                    <a:pt x="90" y="207"/>
                    <a:pt x="88" y="208"/>
                  </a:cubicBezTo>
                  <a:cubicBezTo>
                    <a:pt x="85" y="209"/>
                    <a:pt x="82" y="210"/>
                    <a:pt x="78" y="211"/>
                  </a:cubicBezTo>
                  <a:cubicBezTo>
                    <a:pt x="73" y="213"/>
                    <a:pt x="68" y="216"/>
                    <a:pt x="62" y="216"/>
                  </a:cubicBezTo>
                  <a:cubicBezTo>
                    <a:pt x="56" y="216"/>
                    <a:pt x="52" y="214"/>
                    <a:pt x="47" y="211"/>
                  </a:cubicBezTo>
                  <a:cubicBezTo>
                    <a:pt x="46" y="211"/>
                    <a:pt x="44" y="210"/>
                    <a:pt x="43" y="210"/>
                  </a:cubicBezTo>
                  <a:cubicBezTo>
                    <a:pt x="38" y="208"/>
                    <a:pt x="38" y="208"/>
                    <a:pt x="38" y="208"/>
                  </a:cubicBezTo>
                  <a:cubicBezTo>
                    <a:pt x="39" y="213"/>
                    <a:pt x="39" y="213"/>
                    <a:pt x="39" y="213"/>
                  </a:cubicBezTo>
                  <a:cubicBezTo>
                    <a:pt x="39" y="215"/>
                    <a:pt x="40" y="221"/>
                    <a:pt x="39" y="222"/>
                  </a:cubicBezTo>
                  <a:cubicBezTo>
                    <a:pt x="38" y="223"/>
                    <a:pt x="37" y="223"/>
                    <a:pt x="36" y="223"/>
                  </a:cubicBezTo>
                  <a:cubicBezTo>
                    <a:pt x="36" y="223"/>
                    <a:pt x="35" y="223"/>
                    <a:pt x="34" y="223"/>
                  </a:cubicBezTo>
                  <a:cubicBezTo>
                    <a:pt x="31" y="228"/>
                    <a:pt x="31" y="228"/>
                    <a:pt x="31" y="228"/>
                  </a:cubicBezTo>
                  <a:cubicBezTo>
                    <a:pt x="33" y="230"/>
                    <a:pt x="34" y="231"/>
                    <a:pt x="34" y="234"/>
                  </a:cubicBezTo>
                  <a:cubicBezTo>
                    <a:pt x="30" y="235"/>
                    <a:pt x="27" y="237"/>
                    <a:pt x="25" y="240"/>
                  </a:cubicBezTo>
                  <a:cubicBezTo>
                    <a:pt x="24" y="241"/>
                    <a:pt x="24" y="241"/>
                    <a:pt x="24" y="241"/>
                  </a:cubicBezTo>
                  <a:cubicBezTo>
                    <a:pt x="24" y="242"/>
                    <a:pt x="24" y="242"/>
                    <a:pt x="24" y="242"/>
                  </a:cubicBezTo>
                  <a:cubicBezTo>
                    <a:pt x="26" y="255"/>
                    <a:pt x="27" y="258"/>
                    <a:pt x="28" y="259"/>
                  </a:cubicBezTo>
                  <a:cubicBezTo>
                    <a:pt x="29" y="260"/>
                    <a:pt x="31" y="261"/>
                    <a:pt x="32" y="261"/>
                  </a:cubicBezTo>
                  <a:cubicBezTo>
                    <a:pt x="34" y="262"/>
                    <a:pt x="35" y="262"/>
                    <a:pt x="36" y="263"/>
                  </a:cubicBezTo>
                  <a:cubicBezTo>
                    <a:pt x="37" y="265"/>
                    <a:pt x="37" y="266"/>
                    <a:pt x="37" y="268"/>
                  </a:cubicBezTo>
                  <a:cubicBezTo>
                    <a:pt x="37" y="269"/>
                    <a:pt x="38" y="271"/>
                    <a:pt x="38" y="272"/>
                  </a:cubicBezTo>
                  <a:cubicBezTo>
                    <a:pt x="41" y="275"/>
                    <a:pt x="44" y="275"/>
                    <a:pt x="47" y="275"/>
                  </a:cubicBezTo>
                  <a:cubicBezTo>
                    <a:pt x="49" y="275"/>
                    <a:pt x="51" y="276"/>
                    <a:pt x="53" y="277"/>
                  </a:cubicBezTo>
                  <a:cubicBezTo>
                    <a:pt x="57" y="279"/>
                    <a:pt x="58" y="282"/>
                    <a:pt x="58" y="286"/>
                  </a:cubicBezTo>
                  <a:cubicBezTo>
                    <a:pt x="59" y="287"/>
                    <a:pt x="59" y="289"/>
                    <a:pt x="59" y="290"/>
                  </a:cubicBezTo>
                  <a:cubicBezTo>
                    <a:pt x="59" y="290"/>
                    <a:pt x="59" y="290"/>
                    <a:pt x="59" y="290"/>
                  </a:cubicBezTo>
                  <a:cubicBezTo>
                    <a:pt x="61" y="298"/>
                    <a:pt x="63" y="300"/>
                    <a:pt x="64" y="301"/>
                  </a:cubicBezTo>
                  <a:cubicBezTo>
                    <a:pt x="67" y="303"/>
                    <a:pt x="67" y="303"/>
                    <a:pt x="67" y="303"/>
                  </a:cubicBezTo>
                  <a:cubicBezTo>
                    <a:pt x="68" y="299"/>
                    <a:pt x="68" y="299"/>
                    <a:pt x="68" y="299"/>
                  </a:cubicBezTo>
                  <a:cubicBezTo>
                    <a:pt x="69" y="299"/>
                    <a:pt x="69" y="298"/>
                    <a:pt x="69" y="297"/>
                  </a:cubicBezTo>
                  <a:cubicBezTo>
                    <a:pt x="70" y="294"/>
                    <a:pt x="71" y="293"/>
                    <a:pt x="72" y="292"/>
                  </a:cubicBezTo>
                  <a:cubicBezTo>
                    <a:pt x="72" y="292"/>
                    <a:pt x="72" y="292"/>
                    <a:pt x="72" y="292"/>
                  </a:cubicBezTo>
                  <a:cubicBezTo>
                    <a:pt x="74" y="292"/>
                    <a:pt x="75" y="294"/>
                    <a:pt x="76" y="294"/>
                  </a:cubicBezTo>
                  <a:cubicBezTo>
                    <a:pt x="77" y="295"/>
                    <a:pt x="78" y="299"/>
                    <a:pt x="79" y="303"/>
                  </a:cubicBezTo>
                  <a:cubicBezTo>
                    <a:pt x="79" y="306"/>
                    <a:pt x="80" y="309"/>
                    <a:pt x="81" y="310"/>
                  </a:cubicBezTo>
                  <a:cubicBezTo>
                    <a:pt x="81" y="311"/>
                    <a:pt x="81" y="311"/>
                    <a:pt x="81" y="311"/>
                  </a:cubicBezTo>
                  <a:cubicBezTo>
                    <a:pt x="84" y="316"/>
                    <a:pt x="85" y="316"/>
                    <a:pt x="90" y="316"/>
                  </a:cubicBezTo>
                  <a:cubicBezTo>
                    <a:pt x="92" y="316"/>
                    <a:pt x="92" y="316"/>
                    <a:pt x="92" y="316"/>
                  </a:cubicBezTo>
                  <a:cubicBezTo>
                    <a:pt x="93" y="316"/>
                    <a:pt x="94" y="316"/>
                    <a:pt x="95" y="316"/>
                  </a:cubicBezTo>
                  <a:cubicBezTo>
                    <a:pt x="99" y="316"/>
                    <a:pt x="101" y="315"/>
                    <a:pt x="105" y="313"/>
                  </a:cubicBezTo>
                  <a:cubicBezTo>
                    <a:pt x="107" y="312"/>
                    <a:pt x="107" y="312"/>
                    <a:pt x="107" y="312"/>
                  </a:cubicBezTo>
                  <a:cubicBezTo>
                    <a:pt x="109" y="310"/>
                    <a:pt x="111" y="309"/>
                    <a:pt x="113" y="309"/>
                  </a:cubicBezTo>
                  <a:cubicBezTo>
                    <a:pt x="114" y="309"/>
                    <a:pt x="116" y="310"/>
                    <a:pt x="119" y="311"/>
                  </a:cubicBezTo>
                  <a:cubicBezTo>
                    <a:pt x="119" y="312"/>
                    <a:pt x="119" y="312"/>
                    <a:pt x="119" y="312"/>
                  </a:cubicBezTo>
                  <a:cubicBezTo>
                    <a:pt x="124" y="316"/>
                    <a:pt x="128" y="319"/>
                    <a:pt x="130" y="320"/>
                  </a:cubicBezTo>
                  <a:cubicBezTo>
                    <a:pt x="135" y="322"/>
                    <a:pt x="135" y="322"/>
                    <a:pt x="135" y="322"/>
                  </a:cubicBezTo>
                  <a:cubicBezTo>
                    <a:pt x="135" y="315"/>
                    <a:pt x="135" y="315"/>
                    <a:pt x="135" y="315"/>
                  </a:cubicBezTo>
                  <a:cubicBezTo>
                    <a:pt x="136" y="308"/>
                    <a:pt x="136" y="300"/>
                    <a:pt x="134" y="294"/>
                  </a:cubicBezTo>
                  <a:cubicBezTo>
                    <a:pt x="132" y="291"/>
                    <a:pt x="130" y="289"/>
                    <a:pt x="128" y="286"/>
                  </a:cubicBezTo>
                  <a:cubicBezTo>
                    <a:pt x="126" y="283"/>
                    <a:pt x="123" y="280"/>
                    <a:pt x="123" y="275"/>
                  </a:cubicBezTo>
                  <a:cubicBezTo>
                    <a:pt x="123" y="270"/>
                    <a:pt x="125" y="264"/>
                    <a:pt x="129" y="263"/>
                  </a:cubicBezTo>
                  <a:cubicBezTo>
                    <a:pt x="130" y="263"/>
                    <a:pt x="130" y="263"/>
                    <a:pt x="131" y="263"/>
                  </a:cubicBezTo>
                  <a:cubicBezTo>
                    <a:pt x="133" y="263"/>
                    <a:pt x="135" y="264"/>
                    <a:pt x="137" y="267"/>
                  </a:cubicBezTo>
                  <a:cubicBezTo>
                    <a:pt x="140" y="271"/>
                    <a:pt x="139" y="274"/>
                    <a:pt x="139" y="278"/>
                  </a:cubicBezTo>
                  <a:cubicBezTo>
                    <a:pt x="138" y="282"/>
                    <a:pt x="138" y="286"/>
                    <a:pt x="142" y="291"/>
                  </a:cubicBezTo>
                  <a:cubicBezTo>
                    <a:pt x="146" y="295"/>
                    <a:pt x="149" y="297"/>
                    <a:pt x="154" y="297"/>
                  </a:cubicBezTo>
                  <a:cubicBezTo>
                    <a:pt x="156" y="297"/>
                    <a:pt x="158" y="297"/>
                    <a:pt x="161" y="296"/>
                  </a:cubicBezTo>
                  <a:cubicBezTo>
                    <a:pt x="165" y="293"/>
                    <a:pt x="170" y="291"/>
                    <a:pt x="174" y="289"/>
                  </a:cubicBezTo>
                  <a:cubicBezTo>
                    <a:pt x="201" y="275"/>
                    <a:pt x="228" y="262"/>
                    <a:pt x="253" y="249"/>
                  </a:cubicBezTo>
                  <a:cubicBezTo>
                    <a:pt x="266" y="242"/>
                    <a:pt x="279" y="236"/>
                    <a:pt x="292" y="229"/>
                  </a:cubicBezTo>
                  <a:cubicBezTo>
                    <a:pt x="302" y="249"/>
                    <a:pt x="302" y="249"/>
                    <a:pt x="302" y="249"/>
                  </a:cubicBezTo>
                  <a:cubicBezTo>
                    <a:pt x="305" y="246"/>
                    <a:pt x="305" y="246"/>
                    <a:pt x="305" y="246"/>
                  </a:cubicBezTo>
                  <a:cubicBezTo>
                    <a:pt x="307" y="244"/>
                    <a:pt x="309" y="242"/>
                    <a:pt x="310" y="240"/>
                  </a:cubicBezTo>
                  <a:cubicBezTo>
                    <a:pt x="313" y="232"/>
                    <a:pt x="316" y="225"/>
                    <a:pt x="318" y="219"/>
                  </a:cubicBezTo>
                  <a:cubicBezTo>
                    <a:pt x="319" y="215"/>
                    <a:pt x="320" y="211"/>
                    <a:pt x="320" y="207"/>
                  </a:cubicBezTo>
                  <a:close/>
                  <a:moveTo>
                    <a:pt x="201" y="212"/>
                  </a:moveTo>
                  <a:cubicBezTo>
                    <a:pt x="201" y="206"/>
                    <a:pt x="201" y="202"/>
                    <a:pt x="204" y="198"/>
                  </a:cubicBezTo>
                  <a:cubicBezTo>
                    <a:pt x="205" y="197"/>
                    <a:pt x="207" y="196"/>
                    <a:pt x="208" y="195"/>
                  </a:cubicBezTo>
                  <a:cubicBezTo>
                    <a:pt x="208" y="194"/>
                    <a:pt x="209" y="193"/>
                    <a:pt x="210" y="192"/>
                  </a:cubicBezTo>
                  <a:cubicBezTo>
                    <a:pt x="211" y="191"/>
                    <a:pt x="213" y="189"/>
                    <a:pt x="214" y="187"/>
                  </a:cubicBezTo>
                  <a:cubicBezTo>
                    <a:pt x="214" y="188"/>
                    <a:pt x="214" y="188"/>
                    <a:pt x="214" y="189"/>
                  </a:cubicBezTo>
                  <a:cubicBezTo>
                    <a:pt x="214" y="190"/>
                    <a:pt x="214" y="191"/>
                    <a:pt x="214" y="192"/>
                  </a:cubicBezTo>
                  <a:cubicBezTo>
                    <a:pt x="213" y="195"/>
                    <a:pt x="212" y="197"/>
                    <a:pt x="209" y="199"/>
                  </a:cubicBezTo>
                  <a:cubicBezTo>
                    <a:pt x="208" y="200"/>
                    <a:pt x="207" y="200"/>
                    <a:pt x="206" y="202"/>
                  </a:cubicBezTo>
                  <a:cubicBezTo>
                    <a:pt x="203" y="205"/>
                    <a:pt x="203" y="209"/>
                    <a:pt x="202" y="212"/>
                  </a:cubicBezTo>
                  <a:cubicBezTo>
                    <a:pt x="202" y="214"/>
                    <a:pt x="202" y="215"/>
                    <a:pt x="201" y="216"/>
                  </a:cubicBezTo>
                  <a:cubicBezTo>
                    <a:pt x="201" y="216"/>
                    <a:pt x="201" y="215"/>
                    <a:pt x="201" y="214"/>
                  </a:cubicBezTo>
                  <a:cubicBezTo>
                    <a:pt x="201" y="213"/>
                    <a:pt x="201" y="213"/>
                    <a:pt x="201" y="212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0434619" y="5811885"/>
              <a:ext cx="55397" cy="59730"/>
            </a:xfrm>
            <a:custGeom>
              <a:avLst/>
              <a:gdLst>
                <a:gd name="T0" fmla="*/ 9 w 10"/>
                <a:gd name="T1" fmla="*/ 4 h 12"/>
                <a:gd name="T2" fmla="*/ 7 w 10"/>
                <a:gd name="T3" fmla="*/ 3 h 12"/>
                <a:gd name="T4" fmla="*/ 7 w 10"/>
                <a:gd name="T5" fmla="*/ 0 h 12"/>
                <a:gd name="T6" fmla="*/ 0 w 10"/>
                <a:gd name="T7" fmla="*/ 7 h 12"/>
                <a:gd name="T8" fmla="*/ 1 w 10"/>
                <a:gd name="T9" fmla="*/ 11 h 12"/>
                <a:gd name="T10" fmla="*/ 5 w 10"/>
                <a:gd name="T11" fmla="*/ 12 h 12"/>
                <a:gd name="T12" fmla="*/ 5 w 10"/>
                <a:gd name="T13" fmla="*/ 9 h 12"/>
                <a:gd name="T14" fmla="*/ 5 w 10"/>
                <a:gd name="T15" fmla="*/ 9 h 12"/>
                <a:gd name="T16" fmla="*/ 9 w 10"/>
                <a:gd name="T1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12">
                  <a:moveTo>
                    <a:pt x="9" y="4"/>
                  </a:moveTo>
                  <a:cubicBezTo>
                    <a:pt x="9" y="3"/>
                    <a:pt x="8" y="3"/>
                    <a:pt x="7" y="3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4"/>
                    <a:pt x="0" y="7"/>
                  </a:cubicBezTo>
                  <a:cubicBezTo>
                    <a:pt x="0" y="9"/>
                    <a:pt x="0" y="10"/>
                    <a:pt x="1" y="11"/>
                  </a:cubicBezTo>
                  <a:cubicBezTo>
                    <a:pt x="2" y="11"/>
                    <a:pt x="4" y="12"/>
                    <a:pt x="5" y="12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8" y="9"/>
                    <a:pt x="10" y="7"/>
                    <a:pt x="9" y="4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auto">
            <a:xfrm>
              <a:off x="22685388" y="7532862"/>
              <a:ext cx="92329" cy="83996"/>
            </a:xfrm>
            <a:custGeom>
              <a:avLst/>
              <a:gdLst>
                <a:gd name="T0" fmla="*/ 13 w 17"/>
                <a:gd name="T1" fmla="*/ 0 h 17"/>
                <a:gd name="T2" fmla="*/ 10 w 17"/>
                <a:gd name="T3" fmla="*/ 1 h 17"/>
                <a:gd name="T4" fmla="*/ 2 w 17"/>
                <a:gd name="T5" fmla="*/ 10 h 17"/>
                <a:gd name="T6" fmla="*/ 1 w 17"/>
                <a:gd name="T7" fmla="*/ 16 h 17"/>
                <a:gd name="T8" fmla="*/ 4 w 17"/>
                <a:gd name="T9" fmla="*/ 17 h 17"/>
                <a:gd name="T10" fmla="*/ 8 w 17"/>
                <a:gd name="T11" fmla="*/ 16 h 17"/>
                <a:gd name="T12" fmla="*/ 11 w 17"/>
                <a:gd name="T13" fmla="*/ 11 h 17"/>
                <a:gd name="T14" fmla="*/ 12 w 17"/>
                <a:gd name="T15" fmla="*/ 10 h 17"/>
                <a:gd name="T16" fmla="*/ 12 w 17"/>
                <a:gd name="T17" fmla="*/ 10 h 17"/>
                <a:gd name="T18" fmla="*/ 17 w 17"/>
                <a:gd name="T19" fmla="*/ 4 h 17"/>
                <a:gd name="T20" fmla="*/ 13 w 17"/>
                <a:gd name="T2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17">
                  <a:moveTo>
                    <a:pt x="13" y="0"/>
                  </a:moveTo>
                  <a:cubicBezTo>
                    <a:pt x="12" y="0"/>
                    <a:pt x="11" y="1"/>
                    <a:pt x="10" y="1"/>
                  </a:cubicBezTo>
                  <a:cubicBezTo>
                    <a:pt x="7" y="3"/>
                    <a:pt x="3" y="7"/>
                    <a:pt x="2" y="10"/>
                  </a:cubicBezTo>
                  <a:cubicBezTo>
                    <a:pt x="0" y="12"/>
                    <a:pt x="0" y="14"/>
                    <a:pt x="1" y="16"/>
                  </a:cubicBezTo>
                  <a:cubicBezTo>
                    <a:pt x="2" y="17"/>
                    <a:pt x="3" y="17"/>
                    <a:pt x="4" y="17"/>
                  </a:cubicBezTo>
                  <a:cubicBezTo>
                    <a:pt x="6" y="17"/>
                    <a:pt x="7" y="17"/>
                    <a:pt x="8" y="16"/>
                  </a:cubicBezTo>
                  <a:cubicBezTo>
                    <a:pt x="10" y="15"/>
                    <a:pt x="11" y="13"/>
                    <a:pt x="11" y="11"/>
                  </a:cubicBezTo>
                  <a:cubicBezTo>
                    <a:pt x="12" y="11"/>
                    <a:pt x="12" y="10"/>
                    <a:pt x="12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6" y="9"/>
                    <a:pt x="17" y="7"/>
                    <a:pt x="17" y="4"/>
                  </a:cubicBezTo>
                  <a:cubicBezTo>
                    <a:pt x="17" y="0"/>
                    <a:pt x="14" y="0"/>
                    <a:pt x="13" y="0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22767458" y="7493664"/>
              <a:ext cx="69759" cy="54131"/>
            </a:xfrm>
            <a:custGeom>
              <a:avLst/>
              <a:gdLst>
                <a:gd name="T0" fmla="*/ 12 w 13"/>
                <a:gd name="T1" fmla="*/ 2 h 11"/>
                <a:gd name="T2" fmla="*/ 7 w 13"/>
                <a:gd name="T3" fmla="*/ 0 h 11"/>
                <a:gd name="T4" fmla="*/ 0 w 13"/>
                <a:gd name="T5" fmla="*/ 4 h 11"/>
                <a:gd name="T6" fmla="*/ 1 w 13"/>
                <a:gd name="T7" fmla="*/ 9 h 11"/>
                <a:gd name="T8" fmla="*/ 6 w 13"/>
                <a:gd name="T9" fmla="*/ 11 h 11"/>
                <a:gd name="T10" fmla="*/ 6 w 13"/>
                <a:gd name="T11" fmla="*/ 11 h 11"/>
                <a:gd name="T12" fmla="*/ 13 w 13"/>
                <a:gd name="T13" fmla="*/ 5 h 11"/>
                <a:gd name="T14" fmla="*/ 12 w 13"/>
                <a:gd name="T15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1">
                  <a:moveTo>
                    <a:pt x="12" y="2"/>
                  </a:moveTo>
                  <a:cubicBezTo>
                    <a:pt x="11" y="1"/>
                    <a:pt x="10" y="0"/>
                    <a:pt x="7" y="0"/>
                  </a:cubicBezTo>
                  <a:cubicBezTo>
                    <a:pt x="5" y="0"/>
                    <a:pt x="1" y="1"/>
                    <a:pt x="0" y="4"/>
                  </a:cubicBezTo>
                  <a:cubicBezTo>
                    <a:pt x="0" y="5"/>
                    <a:pt x="0" y="7"/>
                    <a:pt x="1" y="9"/>
                  </a:cubicBezTo>
                  <a:cubicBezTo>
                    <a:pt x="2" y="10"/>
                    <a:pt x="4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9" y="10"/>
                    <a:pt x="12" y="8"/>
                    <a:pt x="13" y="5"/>
                  </a:cubicBezTo>
                  <a:cubicBezTo>
                    <a:pt x="13" y="4"/>
                    <a:pt x="13" y="3"/>
                    <a:pt x="12" y="2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20440775" y="5936945"/>
              <a:ext cx="125157" cy="117594"/>
            </a:xfrm>
            <a:custGeom>
              <a:avLst/>
              <a:gdLst>
                <a:gd name="T0" fmla="*/ 22 w 23"/>
                <a:gd name="T1" fmla="*/ 15 h 24"/>
                <a:gd name="T2" fmla="*/ 18 w 23"/>
                <a:gd name="T3" fmla="*/ 9 h 24"/>
                <a:gd name="T4" fmla="*/ 14 w 23"/>
                <a:gd name="T5" fmla="*/ 8 h 24"/>
                <a:gd name="T6" fmla="*/ 14 w 23"/>
                <a:gd name="T7" fmla="*/ 8 h 24"/>
                <a:gd name="T8" fmla="*/ 13 w 23"/>
                <a:gd name="T9" fmla="*/ 8 h 24"/>
                <a:gd name="T10" fmla="*/ 13 w 23"/>
                <a:gd name="T11" fmla="*/ 6 h 24"/>
                <a:gd name="T12" fmla="*/ 11 w 23"/>
                <a:gd name="T13" fmla="*/ 3 h 24"/>
                <a:gd name="T14" fmla="*/ 6 w 23"/>
                <a:gd name="T15" fmla="*/ 0 h 24"/>
                <a:gd name="T16" fmla="*/ 2 w 23"/>
                <a:gd name="T17" fmla="*/ 2 h 24"/>
                <a:gd name="T18" fmla="*/ 0 w 23"/>
                <a:gd name="T19" fmla="*/ 6 h 24"/>
                <a:gd name="T20" fmla="*/ 4 w 23"/>
                <a:gd name="T21" fmla="*/ 11 h 24"/>
                <a:gd name="T22" fmla="*/ 4 w 23"/>
                <a:gd name="T23" fmla="*/ 11 h 24"/>
                <a:gd name="T24" fmla="*/ 1 w 23"/>
                <a:gd name="T25" fmla="*/ 17 h 24"/>
                <a:gd name="T26" fmla="*/ 2 w 23"/>
                <a:gd name="T27" fmla="*/ 21 h 24"/>
                <a:gd name="T28" fmla="*/ 7 w 23"/>
                <a:gd name="T29" fmla="*/ 23 h 24"/>
                <a:gd name="T30" fmla="*/ 9 w 23"/>
                <a:gd name="T31" fmla="*/ 23 h 24"/>
                <a:gd name="T32" fmla="*/ 12 w 23"/>
                <a:gd name="T33" fmla="*/ 23 h 24"/>
                <a:gd name="T34" fmla="*/ 15 w 23"/>
                <a:gd name="T35" fmla="*/ 24 h 24"/>
                <a:gd name="T36" fmla="*/ 15 w 23"/>
                <a:gd name="T37" fmla="*/ 24 h 24"/>
                <a:gd name="T38" fmla="*/ 21 w 23"/>
                <a:gd name="T39" fmla="*/ 21 h 24"/>
                <a:gd name="T40" fmla="*/ 22 w 23"/>
                <a:gd name="T41" fmla="*/ 1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3" h="24">
                  <a:moveTo>
                    <a:pt x="22" y="15"/>
                  </a:moveTo>
                  <a:cubicBezTo>
                    <a:pt x="22" y="12"/>
                    <a:pt x="20" y="10"/>
                    <a:pt x="18" y="9"/>
                  </a:cubicBezTo>
                  <a:cubicBezTo>
                    <a:pt x="17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3" y="8"/>
                    <a:pt x="13" y="8"/>
                  </a:cubicBezTo>
                  <a:cubicBezTo>
                    <a:pt x="13" y="7"/>
                    <a:pt x="13" y="7"/>
                    <a:pt x="13" y="6"/>
                  </a:cubicBezTo>
                  <a:cubicBezTo>
                    <a:pt x="13" y="5"/>
                    <a:pt x="12" y="4"/>
                    <a:pt x="11" y="3"/>
                  </a:cubicBezTo>
                  <a:cubicBezTo>
                    <a:pt x="10" y="1"/>
                    <a:pt x="8" y="0"/>
                    <a:pt x="6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6"/>
                  </a:cubicBezTo>
                  <a:cubicBezTo>
                    <a:pt x="0" y="8"/>
                    <a:pt x="2" y="10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2" y="12"/>
                    <a:pt x="1" y="14"/>
                    <a:pt x="1" y="17"/>
                  </a:cubicBezTo>
                  <a:cubicBezTo>
                    <a:pt x="1" y="19"/>
                    <a:pt x="1" y="20"/>
                    <a:pt x="2" y="21"/>
                  </a:cubicBezTo>
                  <a:cubicBezTo>
                    <a:pt x="4" y="23"/>
                    <a:pt x="6" y="23"/>
                    <a:pt x="7" y="23"/>
                  </a:cubicBezTo>
                  <a:cubicBezTo>
                    <a:pt x="7" y="23"/>
                    <a:pt x="9" y="23"/>
                    <a:pt x="9" y="23"/>
                  </a:cubicBezTo>
                  <a:cubicBezTo>
                    <a:pt x="10" y="23"/>
                    <a:pt x="11" y="23"/>
                    <a:pt x="12" y="23"/>
                  </a:cubicBezTo>
                  <a:cubicBezTo>
                    <a:pt x="13" y="24"/>
                    <a:pt x="14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8" y="24"/>
                    <a:pt x="20" y="23"/>
                    <a:pt x="21" y="21"/>
                  </a:cubicBezTo>
                  <a:cubicBezTo>
                    <a:pt x="22" y="19"/>
                    <a:pt x="23" y="17"/>
                    <a:pt x="22" y="15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auto">
            <a:xfrm>
              <a:off x="22277090" y="7964040"/>
              <a:ext cx="86173" cy="89595"/>
            </a:xfrm>
            <a:custGeom>
              <a:avLst/>
              <a:gdLst>
                <a:gd name="T0" fmla="*/ 14 w 16"/>
                <a:gd name="T1" fmla="*/ 3 h 18"/>
                <a:gd name="T2" fmla="*/ 10 w 16"/>
                <a:gd name="T3" fmla="*/ 0 h 18"/>
                <a:gd name="T4" fmla="*/ 7 w 16"/>
                <a:gd name="T5" fmla="*/ 1 h 18"/>
                <a:gd name="T6" fmla="*/ 1 w 16"/>
                <a:gd name="T7" fmla="*/ 10 h 18"/>
                <a:gd name="T8" fmla="*/ 2 w 16"/>
                <a:gd name="T9" fmla="*/ 16 h 18"/>
                <a:gd name="T10" fmla="*/ 6 w 16"/>
                <a:gd name="T11" fmla="*/ 18 h 18"/>
                <a:gd name="T12" fmla="*/ 9 w 16"/>
                <a:gd name="T13" fmla="*/ 16 h 18"/>
                <a:gd name="T14" fmla="*/ 15 w 16"/>
                <a:gd name="T15" fmla="*/ 9 h 18"/>
                <a:gd name="T16" fmla="*/ 14 w 16"/>
                <a:gd name="T17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8">
                  <a:moveTo>
                    <a:pt x="14" y="3"/>
                  </a:moveTo>
                  <a:cubicBezTo>
                    <a:pt x="13" y="1"/>
                    <a:pt x="11" y="0"/>
                    <a:pt x="10" y="0"/>
                  </a:cubicBezTo>
                  <a:cubicBezTo>
                    <a:pt x="9" y="0"/>
                    <a:pt x="8" y="1"/>
                    <a:pt x="7" y="1"/>
                  </a:cubicBezTo>
                  <a:cubicBezTo>
                    <a:pt x="4" y="2"/>
                    <a:pt x="1" y="8"/>
                    <a:pt x="1" y="10"/>
                  </a:cubicBezTo>
                  <a:cubicBezTo>
                    <a:pt x="0" y="12"/>
                    <a:pt x="1" y="15"/>
                    <a:pt x="2" y="16"/>
                  </a:cubicBezTo>
                  <a:cubicBezTo>
                    <a:pt x="3" y="17"/>
                    <a:pt x="4" y="18"/>
                    <a:pt x="6" y="18"/>
                  </a:cubicBezTo>
                  <a:cubicBezTo>
                    <a:pt x="7" y="18"/>
                    <a:pt x="8" y="17"/>
                    <a:pt x="9" y="16"/>
                  </a:cubicBezTo>
                  <a:cubicBezTo>
                    <a:pt x="12" y="15"/>
                    <a:pt x="14" y="12"/>
                    <a:pt x="15" y="9"/>
                  </a:cubicBezTo>
                  <a:cubicBezTo>
                    <a:pt x="16" y="7"/>
                    <a:pt x="16" y="5"/>
                    <a:pt x="14" y="3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19519539" y="6039607"/>
              <a:ext cx="92329" cy="50397"/>
            </a:xfrm>
            <a:custGeom>
              <a:avLst/>
              <a:gdLst>
                <a:gd name="T0" fmla="*/ 16 w 17"/>
                <a:gd name="T1" fmla="*/ 2 h 10"/>
                <a:gd name="T2" fmla="*/ 13 w 17"/>
                <a:gd name="T3" fmla="*/ 1 h 10"/>
                <a:gd name="T4" fmla="*/ 10 w 17"/>
                <a:gd name="T5" fmla="*/ 1 h 10"/>
                <a:gd name="T6" fmla="*/ 10 w 17"/>
                <a:gd name="T7" fmla="*/ 2 h 10"/>
                <a:gd name="T8" fmla="*/ 9 w 17"/>
                <a:gd name="T9" fmla="*/ 1 h 10"/>
                <a:gd name="T10" fmla="*/ 5 w 17"/>
                <a:gd name="T11" fmla="*/ 0 h 10"/>
                <a:gd name="T12" fmla="*/ 4 w 17"/>
                <a:gd name="T13" fmla="*/ 0 h 10"/>
                <a:gd name="T14" fmla="*/ 0 w 17"/>
                <a:gd name="T15" fmla="*/ 3 h 10"/>
                <a:gd name="T16" fmla="*/ 1 w 17"/>
                <a:gd name="T17" fmla="*/ 8 h 10"/>
                <a:gd name="T18" fmla="*/ 6 w 17"/>
                <a:gd name="T19" fmla="*/ 10 h 10"/>
                <a:gd name="T20" fmla="*/ 6 w 17"/>
                <a:gd name="T21" fmla="*/ 10 h 10"/>
                <a:gd name="T22" fmla="*/ 7 w 17"/>
                <a:gd name="T23" fmla="*/ 10 h 10"/>
                <a:gd name="T24" fmla="*/ 10 w 17"/>
                <a:gd name="T25" fmla="*/ 10 h 10"/>
                <a:gd name="T26" fmla="*/ 17 w 17"/>
                <a:gd name="T27" fmla="*/ 6 h 10"/>
                <a:gd name="T28" fmla="*/ 16 w 17"/>
                <a:gd name="T2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" h="10">
                  <a:moveTo>
                    <a:pt x="16" y="2"/>
                  </a:moveTo>
                  <a:cubicBezTo>
                    <a:pt x="16" y="2"/>
                    <a:pt x="15" y="1"/>
                    <a:pt x="13" y="1"/>
                  </a:cubicBezTo>
                  <a:cubicBezTo>
                    <a:pt x="12" y="1"/>
                    <a:pt x="11" y="1"/>
                    <a:pt x="10" y="1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2"/>
                    <a:pt x="9" y="1"/>
                    <a:pt x="9" y="1"/>
                  </a:cubicBezTo>
                  <a:cubicBezTo>
                    <a:pt x="8" y="1"/>
                    <a:pt x="7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2" y="1"/>
                    <a:pt x="1" y="2"/>
                    <a:pt x="0" y="3"/>
                  </a:cubicBezTo>
                  <a:cubicBezTo>
                    <a:pt x="0" y="5"/>
                    <a:pt x="0" y="7"/>
                    <a:pt x="1" y="8"/>
                  </a:cubicBezTo>
                  <a:cubicBezTo>
                    <a:pt x="2" y="10"/>
                    <a:pt x="5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10"/>
                    <a:pt x="9" y="10"/>
                    <a:pt x="10" y="10"/>
                  </a:cubicBezTo>
                  <a:cubicBezTo>
                    <a:pt x="15" y="10"/>
                    <a:pt x="17" y="8"/>
                    <a:pt x="17" y="6"/>
                  </a:cubicBezTo>
                  <a:cubicBezTo>
                    <a:pt x="17" y="4"/>
                    <a:pt x="17" y="3"/>
                    <a:pt x="16" y="2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19131759" y="5964944"/>
              <a:ext cx="131312" cy="100795"/>
            </a:xfrm>
            <a:custGeom>
              <a:avLst/>
              <a:gdLst>
                <a:gd name="T0" fmla="*/ 23 w 24"/>
                <a:gd name="T1" fmla="*/ 8 h 20"/>
                <a:gd name="T2" fmla="*/ 12 w 24"/>
                <a:gd name="T3" fmla="*/ 0 h 20"/>
                <a:gd name="T4" fmla="*/ 11 w 24"/>
                <a:gd name="T5" fmla="*/ 0 h 20"/>
                <a:gd name="T6" fmla="*/ 3 w 24"/>
                <a:gd name="T7" fmla="*/ 3 h 20"/>
                <a:gd name="T8" fmla="*/ 0 w 24"/>
                <a:gd name="T9" fmla="*/ 8 h 20"/>
                <a:gd name="T10" fmla="*/ 2 w 24"/>
                <a:gd name="T11" fmla="*/ 12 h 20"/>
                <a:gd name="T12" fmla="*/ 4 w 24"/>
                <a:gd name="T13" fmla="*/ 13 h 20"/>
                <a:gd name="T14" fmla="*/ 5 w 24"/>
                <a:gd name="T15" fmla="*/ 14 h 20"/>
                <a:gd name="T16" fmla="*/ 7 w 24"/>
                <a:gd name="T17" fmla="*/ 16 h 20"/>
                <a:gd name="T18" fmla="*/ 8 w 24"/>
                <a:gd name="T19" fmla="*/ 17 h 20"/>
                <a:gd name="T20" fmla="*/ 15 w 24"/>
                <a:gd name="T21" fmla="*/ 20 h 20"/>
                <a:gd name="T22" fmla="*/ 15 w 24"/>
                <a:gd name="T23" fmla="*/ 20 h 20"/>
                <a:gd name="T24" fmla="*/ 20 w 24"/>
                <a:gd name="T25" fmla="*/ 18 h 20"/>
                <a:gd name="T26" fmla="*/ 23 w 24"/>
                <a:gd name="T27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0">
                  <a:moveTo>
                    <a:pt x="23" y="8"/>
                  </a:moveTo>
                  <a:cubicBezTo>
                    <a:pt x="22" y="4"/>
                    <a:pt x="17" y="0"/>
                    <a:pt x="12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8" y="0"/>
                    <a:pt x="6" y="1"/>
                    <a:pt x="3" y="3"/>
                  </a:cubicBezTo>
                  <a:cubicBezTo>
                    <a:pt x="2" y="4"/>
                    <a:pt x="0" y="6"/>
                    <a:pt x="0" y="8"/>
                  </a:cubicBezTo>
                  <a:cubicBezTo>
                    <a:pt x="0" y="9"/>
                    <a:pt x="0" y="11"/>
                    <a:pt x="2" y="12"/>
                  </a:cubicBezTo>
                  <a:cubicBezTo>
                    <a:pt x="2" y="12"/>
                    <a:pt x="3" y="13"/>
                    <a:pt x="4" y="13"/>
                  </a:cubicBezTo>
                  <a:cubicBezTo>
                    <a:pt x="4" y="13"/>
                    <a:pt x="5" y="14"/>
                    <a:pt x="5" y="14"/>
                  </a:cubicBezTo>
                  <a:cubicBezTo>
                    <a:pt x="5" y="14"/>
                    <a:pt x="6" y="15"/>
                    <a:pt x="7" y="16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10" y="18"/>
                    <a:pt x="12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7" y="20"/>
                    <a:pt x="19" y="19"/>
                    <a:pt x="20" y="18"/>
                  </a:cubicBezTo>
                  <a:cubicBezTo>
                    <a:pt x="23" y="15"/>
                    <a:pt x="24" y="11"/>
                    <a:pt x="23" y="8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19164587" y="5862282"/>
              <a:ext cx="59501" cy="54131"/>
            </a:xfrm>
            <a:custGeom>
              <a:avLst/>
              <a:gdLst>
                <a:gd name="T0" fmla="*/ 10 w 11"/>
                <a:gd name="T1" fmla="*/ 3 h 11"/>
                <a:gd name="T2" fmla="*/ 7 w 11"/>
                <a:gd name="T3" fmla="*/ 0 h 11"/>
                <a:gd name="T4" fmla="*/ 3 w 11"/>
                <a:gd name="T5" fmla="*/ 2 h 11"/>
                <a:gd name="T6" fmla="*/ 1 w 11"/>
                <a:gd name="T7" fmla="*/ 9 h 11"/>
                <a:gd name="T8" fmla="*/ 4 w 11"/>
                <a:gd name="T9" fmla="*/ 11 h 11"/>
                <a:gd name="T10" fmla="*/ 8 w 11"/>
                <a:gd name="T11" fmla="*/ 9 h 11"/>
                <a:gd name="T12" fmla="*/ 8 w 11"/>
                <a:gd name="T13" fmla="*/ 9 h 11"/>
                <a:gd name="T14" fmla="*/ 10 w 11"/>
                <a:gd name="T15" fmla="*/ 7 h 11"/>
                <a:gd name="T16" fmla="*/ 10 w 11"/>
                <a:gd name="T17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11">
                  <a:moveTo>
                    <a:pt x="10" y="3"/>
                  </a:moveTo>
                  <a:cubicBezTo>
                    <a:pt x="10" y="1"/>
                    <a:pt x="8" y="0"/>
                    <a:pt x="7" y="0"/>
                  </a:cubicBezTo>
                  <a:cubicBezTo>
                    <a:pt x="5" y="0"/>
                    <a:pt x="3" y="1"/>
                    <a:pt x="3" y="2"/>
                  </a:cubicBezTo>
                  <a:cubicBezTo>
                    <a:pt x="1" y="4"/>
                    <a:pt x="0" y="6"/>
                    <a:pt x="1" y="9"/>
                  </a:cubicBezTo>
                  <a:cubicBezTo>
                    <a:pt x="1" y="10"/>
                    <a:pt x="3" y="11"/>
                    <a:pt x="4" y="11"/>
                  </a:cubicBezTo>
                  <a:cubicBezTo>
                    <a:pt x="5" y="11"/>
                    <a:pt x="7" y="10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9" y="9"/>
                    <a:pt x="10" y="8"/>
                    <a:pt x="10" y="7"/>
                  </a:cubicBezTo>
                  <a:cubicBezTo>
                    <a:pt x="11" y="6"/>
                    <a:pt x="11" y="4"/>
                    <a:pt x="10" y="3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auto">
            <a:xfrm>
              <a:off x="19224087" y="5916413"/>
              <a:ext cx="114898" cy="78396"/>
            </a:xfrm>
            <a:custGeom>
              <a:avLst/>
              <a:gdLst>
                <a:gd name="T0" fmla="*/ 18 w 21"/>
                <a:gd name="T1" fmla="*/ 3 h 16"/>
                <a:gd name="T2" fmla="*/ 9 w 21"/>
                <a:gd name="T3" fmla="*/ 0 h 16"/>
                <a:gd name="T4" fmla="*/ 1 w 21"/>
                <a:gd name="T5" fmla="*/ 5 h 16"/>
                <a:gd name="T6" fmla="*/ 3 w 21"/>
                <a:gd name="T7" fmla="*/ 10 h 16"/>
                <a:gd name="T8" fmla="*/ 7 w 21"/>
                <a:gd name="T9" fmla="*/ 11 h 16"/>
                <a:gd name="T10" fmla="*/ 9 w 21"/>
                <a:gd name="T11" fmla="*/ 12 h 16"/>
                <a:gd name="T12" fmla="*/ 10 w 21"/>
                <a:gd name="T13" fmla="*/ 13 h 16"/>
                <a:gd name="T14" fmla="*/ 15 w 21"/>
                <a:gd name="T15" fmla="*/ 16 h 16"/>
                <a:gd name="T16" fmla="*/ 18 w 21"/>
                <a:gd name="T17" fmla="*/ 15 h 16"/>
                <a:gd name="T18" fmla="*/ 21 w 21"/>
                <a:gd name="T19" fmla="*/ 10 h 16"/>
                <a:gd name="T20" fmla="*/ 18 w 21"/>
                <a:gd name="T21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6">
                  <a:moveTo>
                    <a:pt x="18" y="3"/>
                  </a:moveTo>
                  <a:cubicBezTo>
                    <a:pt x="15" y="0"/>
                    <a:pt x="10" y="0"/>
                    <a:pt x="9" y="0"/>
                  </a:cubicBezTo>
                  <a:cubicBezTo>
                    <a:pt x="7" y="0"/>
                    <a:pt x="2" y="1"/>
                    <a:pt x="1" y="5"/>
                  </a:cubicBezTo>
                  <a:cubicBezTo>
                    <a:pt x="1" y="5"/>
                    <a:pt x="0" y="8"/>
                    <a:pt x="3" y="10"/>
                  </a:cubicBezTo>
                  <a:cubicBezTo>
                    <a:pt x="4" y="10"/>
                    <a:pt x="5" y="11"/>
                    <a:pt x="7" y="11"/>
                  </a:cubicBezTo>
                  <a:cubicBezTo>
                    <a:pt x="7" y="11"/>
                    <a:pt x="8" y="12"/>
                    <a:pt x="9" y="12"/>
                  </a:cubicBezTo>
                  <a:cubicBezTo>
                    <a:pt x="9" y="12"/>
                    <a:pt x="9" y="13"/>
                    <a:pt x="10" y="13"/>
                  </a:cubicBezTo>
                  <a:cubicBezTo>
                    <a:pt x="11" y="14"/>
                    <a:pt x="13" y="16"/>
                    <a:pt x="15" y="16"/>
                  </a:cubicBezTo>
                  <a:cubicBezTo>
                    <a:pt x="16" y="16"/>
                    <a:pt x="17" y="16"/>
                    <a:pt x="18" y="15"/>
                  </a:cubicBezTo>
                  <a:cubicBezTo>
                    <a:pt x="20" y="14"/>
                    <a:pt x="21" y="12"/>
                    <a:pt x="21" y="10"/>
                  </a:cubicBezTo>
                  <a:cubicBezTo>
                    <a:pt x="21" y="7"/>
                    <a:pt x="20" y="4"/>
                    <a:pt x="18" y="3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19061999" y="5027926"/>
              <a:ext cx="342642" cy="248254"/>
            </a:xfrm>
            <a:custGeom>
              <a:avLst/>
              <a:gdLst>
                <a:gd name="T0" fmla="*/ 59 w 63"/>
                <a:gd name="T1" fmla="*/ 7 h 50"/>
                <a:gd name="T2" fmla="*/ 50 w 63"/>
                <a:gd name="T3" fmla="*/ 4 h 50"/>
                <a:gd name="T4" fmla="*/ 47 w 63"/>
                <a:gd name="T5" fmla="*/ 4 h 50"/>
                <a:gd name="T6" fmla="*/ 44 w 63"/>
                <a:gd name="T7" fmla="*/ 4 h 50"/>
                <a:gd name="T8" fmla="*/ 36 w 63"/>
                <a:gd name="T9" fmla="*/ 7 h 50"/>
                <a:gd name="T10" fmla="*/ 35 w 63"/>
                <a:gd name="T11" fmla="*/ 9 h 50"/>
                <a:gd name="T12" fmla="*/ 25 w 63"/>
                <a:gd name="T13" fmla="*/ 1 h 50"/>
                <a:gd name="T14" fmla="*/ 21 w 63"/>
                <a:gd name="T15" fmla="*/ 0 h 50"/>
                <a:gd name="T16" fmla="*/ 10 w 63"/>
                <a:gd name="T17" fmla="*/ 6 h 50"/>
                <a:gd name="T18" fmla="*/ 10 w 63"/>
                <a:gd name="T19" fmla="*/ 6 h 50"/>
                <a:gd name="T20" fmla="*/ 2 w 63"/>
                <a:gd name="T21" fmla="*/ 19 h 50"/>
                <a:gd name="T22" fmla="*/ 8 w 63"/>
                <a:gd name="T23" fmla="*/ 47 h 50"/>
                <a:gd name="T24" fmla="*/ 18 w 63"/>
                <a:gd name="T25" fmla="*/ 50 h 50"/>
                <a:gd name="T26" fmla="*/ 35 w 63"/>
                <a:gd name="T27" fmla="*/ 42 h 50"/>
                <a:gd name="T28" fmla="*/ 38 w 63"/>
                <a:gd name="T29" fmla="*/ 17 h 50"/>
                <a:gd name="T30" fmla="*/ 43 w 63"/>
                <a:gd name="T31" fmla="*/ 21 h 50"/>
                <a:gd name="T32" fmla="*/ 45 w 63"/>
                <a:gd name="T33" fmla="*/ 21 h 50"/>
                <a:gd name="T34" fmla="*/ 48 w 63"/>
                <a:gd name="T35" fmla="*/ 21 h 50"/>
                <a:gd name="T36" fmla="*/ 49 w 63"/>
                <a:gd name="T37" fmla="*/ 21 h 50"/>
                <a:gd name="T38" fmla="*/ 51 w 63"/>
                <a:gd name="T39" fmla="*/ 21 h 50"/>
                <a:gd name="T40" fmla="*/ 54 w 63"/>
                <a:gd name="T41" fmla="*/ 21 h 50"/>
                <a:gd name="T42" fmla="*/ 55 w 63"/>
                <a:gd name="T43" fmla="*/ 21 h 50"/>
                <a:gd name="T44" fmla="*/ 62 w 63"/>
                <a:gd name="T45" fmla="*/ 16 h 50"/>
                <a:gd name="T46" fmla="*/ 59 w 63"/>
                <a:gd name="T47" fmla="*/ 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3" h="50">
                  <a:moveTo>
                    <a:pt x="59" y="7"/>
                  </a:moveTo>
                  <a:cubicBezTo>
                    <a:pt x="57" y="4"/>
                    <a:pt x="53" y="4"/>
                    <a:pt x="50" y="4"/>
                  </a:cubicBezTo>
                  <a:cubicBezTo>
                    <a:pt x="49" y="4"/>
                    <a:pt x="48" y="4"/>
                    <a:pt x="47" y="4"/>
                  </a:cubicBezTo>
                  <a:cubicBezTo>
                    <a:pt x="46" y="4"/>
                    <a:pt x="45" y="4"/>
                    <a:pt x="44" y="4"/>
                  </a:cubicBezTo>
                  <a:cubicBezTo>
                    <a:pt x="42" y="4"/>
                    <a:pt x="38" y="4"/>
                    <a:pt x="36" y="7"/>
                  </a:cubicBezTo>
                  <a:cubicBezTo>
                    <a:pt x="35" y="7"/>
                    <a:pt x="35" y="8"/>
                    <a:pt x="35" y="9"/>
                  </a:cubicBezTo>
                  <a:cubicBezTo>
                    <a:pt x="33" y="6"/>
                    <a:pt x="30" y="3"/>
                    <a:pt x="25" y="1"/>
                  </a:cubicBezTo>
                  <a:cubicBezTo>
                    <a:pt x="24" y="0"/>
                    <a:pt x="23" y="0"/>
                    <a:pt x="21" y="0"/>
                  </a:cubicBezTo>
                  <a:cubicBezTo>
                    <a:pt x="17" y="0"/>
                    <a:pt x="13" y="3"/>
                    <a:pt x="10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6" y="10"/>
                    <a:pt x="3" y="14"/>
                    <a:pt x="2" y="19"/>
                  </a:cubicBezTo>
                  <a:cubicBezTo>
                    <a:pt x="0" y="28"/>
                    <a:pt x="1" y="40"/>
                    <a:pt x="8" y="47"/>
                  </a:cubicBezTo>
                  <a:cubicBezTo>
                    <a:pt x="10" y="49"/>
                    <a:pt x="14" y="50"/>
                    <a:pt x="18" y="50"/>
                  </a:cubicBezTo>
                  <a:cubicBezTo>
                    <a:pt x="25" y="50"/>
                    <a:pt x="31" y="46"/>
                    <a:pt x="35" y="42"/>
                  </a:cubicBezTo>
                  <a:cubicBezTo>
                    <a:pt x="42" y="35"/>
                    <a:pt x="40" y="24"/>
                    <a:pt x="38" y="17"/>
                  </a:cubicBezTo>
                  <a:cubicBezTo>
                    <a:pt x="39" y="19"/>
                    <a:pt x="40" y="20"/>
                    <a:pt x="43" y="21"/>
                  </a:cubicBezTo>
                  <a:cubicBezTo>
                    <a:pt x="43" y="21"/>
                    <a:pt x="44" y="21"/>
                    <a:pt x="45" y="21"/>
                  </a:cubicBezTo>
                  <a:cubicBezTo>
                    <a:pt x="46" y="21"/>
                    <a:pt x="47" y="21"/>
                    <a:pt x="48" y="21"/>
                  </a:cubicBezTo>
                  <a:cubicBezTo>
                    <a:pt x="48" y="21"/>
                    <a:pt x="49" y="21"/>
                    <a:pt x="49" y="21"/>
                  </a:cubicBezTo>
                  <a:cubicBezTo>
                    <a:pt x="50" y="21"/>
                    <a:pt x="50" y="21"/>
                    <a:pt x="51" y="21"/>
                  </a:cubicBezTo>
                  <a:cubicBezTo>
                    <a:pt x="51" y="21"/>
                    <a:pt x="53" y="21"/>
                    <a:pt x="54" y="21"/>
                  </a:cubicBezTo>
                  <a:cubicBezTo>
                    <a:pt x="54" y="21"/>
                    <a:pt x="55" y="21"/>
                    <a:pt x="55" y="21"/>
                  </a:cubicBezTo>
                  <a:cubicBezTo>
                    <a:pt x="58" y="20"/>
                    <a:pt x="61" y="19"/>
                    <a:pt x="62" y="16"/>
                  </a:cubicBezTo>
                  <a:cubicBezTo>
                    <a:pt x="63" y="13"/>
                    <a:pt x="62" y="10"/>
                    <a:pt x="59" y="7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19170742" y="4953263"/>
              <a:ext cx="86173" cy="85862"/>
            </a:xfrm>
            <a:custGeom>
              <a:avLst/>
              <a:gdLst>
                <a:gd name="T0" fmla="*/ 7 w 16"/>
                <a:gd name="T1" fmla="*/ 16 h 17"/>
                <a:gd name="T2" fmla="*/ 10 w 16"/>
                <a:gd name="T3" fmla="*/ 17 h 17"/>
                <a:gd name="T4" fmla="*/ 14 w 16"/>
                <a:gd name="T5" fmla="*/ 15 h 17"/>
                <a:gd name="T6" fmla="*/ 15 w 16"/>
                <a:gd name="T7" fmla="*/ 10 h 17"/>
                <a:gd name="T8" fmla="*/ 13 w 16"/>
                <a:gd name="T9" fmla="*/ 5 h 17"/>
                <a:gd name="T10" fmla="*/ 11 w 16"/>
                <a:gd name="T11" fmla="*/ 4 h 17"/>
                <a:gd name="T12" fmla="*/ 6 w 16"/>
                <a:gd name="T13" fmla="*/ 0 h 17"/>
                <a:gd name="T14" fmla="*/ 1 w 16"/>
                <a:gd name="T15" fmla="*/ 6 h 17"/>
                <a:gd name="T16" fmla="*/ 7 w 16"/>
                <a:gd name="T17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7">
                  <a:moveTo>
                    <a:pt x="7" y="16"/>
                  </a:moveTo>
                  <a:cubicBezTo>
                    <a:pt x="8" y="17"/>
                    <a:pt x="9" y="17"/>
                    <a:pt x="10" y="17"/>
                  </a:cubicBezTo>
                  <a:cubicBezTo>
                    <a:pt x="12" y="17"/>
                    <a:pt x="13" y="16"/>
                    <a:pt x="14" y="15"/>
                  </a:cubicBezTo>
                  <a:cubicBezTo>
                    <a:pt x="15" y="14"/>
                    <a:pt x="16" y="12"/>
                    <a:pt x="15" y="10"/>
                  </a:cubicBezTo>
                  <a:cubicBezTo>
                    <a:pt x="15" y="8"/>
                    <a:pt x="14" y="6"/>
                    <a:pt x="13" y="5"/>
                  </a:cubicBezTo>
                  <a:cubicBezTo>
                    <a:pt x="12" y="5"/>
                    <a:pt x="11" y="4"/>
                    <a:pt x="11" y="4"/>
                  </a:cubicBezTo>
                  <a:cubicBezTo>
                    <a:pt x="10" y="1"/>
                    <a:pt x="8" y="0"/>
                    <a:pt x="6" y="0"/>
                  </a:cubicBezTo>
                  <a:cubicBezTo>
                    <a:pt x="3" y="0"/>
                    <a:pt x="1" y="2"/>
                    <a:pt x="1" y="6"/>
                  </a:cubicBezTo>
                  <a:cubicBezTo>
                    <a:pt x="0" y="10"/>
                    <a:pt x="4" y="14"/>
                    <a:pt x="7" y="16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 bwMode="auto">
            <a:xfrm>
              <a:off x="19049689" y="6760102"/>
              <a:ext cx="55397" cy="57864"/>
            </a:xfrm>
            <a:custGeom>
              <a:avLst/>
              <a:gdLst>
                <a:gd name="T0" fmla="*/ 6 w 10"/>
                <a:gd name="T1" fmla="*/ 0 h 12"/>
                <a:gd name="T2" fmla="*/ 5 w 10"/>
                <a:gd name="T3" fmla="*/ 0 h 12"/>
                <a:gd name="T4" fmla="*/ 2 w 10"/>
                <a:gd name="T5" fmla="*/ 2 h 12"/>
                <a:gd name="T6" fmla="*/ 1 w 10"/>
                <a:gd name="T7" fmla="*/ 9 h 12"/>
                <a:gd name="T8" fmla="*/ 1 w 10"/>
                <a:gd name="T9" fmla="*/ 11 h 12"/>
                <a:gd name="T10" fmla="*/ 3 w 10"/>
                <a:gd name="T11" fmla="*/ 11 h 12"/>
                <a:gd name="T12" fmla="*/ 5 w 10"/>
                <a:gd name="T13" fmla="*/ 12 h 12"/>
                <a:gd name="T14" fmla="*/ 10 w 10"/>
                <a:gd name="T15" fmla="*/ 6 h 12"/>
                <a:gd name="T16" fmla="*/ 6 w 10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12">
                  <a:moveTo>
                    <a:pt x="6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3" y="1"/>
                    <a:pt x="2" y="2"/>
                  </a:cubicBezTo>
                  <a:cubicBezTo>
                    <a:pt x="0" y="4"/>
                    <a:pt x="1" y="8"/>
                    <a:pt x="1" y="9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4" y="12"/>
                    <a:pt x="4" y="12"/>
                    <a:pt x="5" y="12"/>
                  </a:cubicBezTo>
                  <a:cubicBezTo>
                    <a:pt x="8" y="12"/>
                    <a:pt x="10" y="9"/>
                    <a:pt x="10" y="6"/>
                  </a:cubicBezTo>
                  <a:cubicBezTo>
                    <a:pt x="10" y="3"/>
                    <a:pt x="9" y="1"/>
                    <a:pt x="6" y="0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19203570" y="7295808"/>
              <a:ext cx="207227" cy="182924"/>
            </a:xfrm>
            <a:custGeom>
              <a:avLst/>
              <a:gdLst>
                <a:gd name="T0" fmla="*/ 37 w 38"/>
                <a:gd name="T1" fmla="*/ 11 h 37"/>
                <a:gd name="T2" fmla="*/ 37 w 38"/>
                <a:gd name="T3" fmla="*/ 10 h 37"/>
                <a:gd name="T4" fmla="*/ 37 w 38"/>
                <a:gd name="T5" fmla="*/ 9 h 37"/>
                <a:gd name="T6" fmla="*/ 36 w 38"/>
                <a:gd name="T7" fmla="*/ 5 h 37"/>
                <a:gd name="T8" fmla="*/ 33 w 38"/>
                <a:gd name="T9" fmla="*/ 3 h 37"/>
                <a:gd name="T10" fmla="*/ 30 w 38"/>
                <a:gd name="T11" fmla="*/ 5 h 37"/>
                <a:gd name="T12" fmla="*/ 29 w 38"/>
                <a:gd name="T13" fmla="*/ 5 h 37"/>
                <a:gd name="T14" fmla="*/ 28 w 38"/>
                <a:gd name="T15" fmla="*/ 5 h 37"/>
                <a:gd name="T16" fmla="*/ 26 w 38"/>
                <a:gd name="T17" fmla="*/ 2 h 37"/>
                <a:gd name="T18" fmla="*/ 23 w 38"/>
                <a:gd name="T19" fmla="*/ 0 h 37"/>
                <a:gd name="T20" fmla="*/ 18 w 38"/>
                <a:gd name="T21" fmla="*/ 6 h 37"/>
                <a:gd name="T22" fmla="*/ 17 w 38"/>
                <a:gd name="T23" fmla="*/ 7 h 37"/>
                <a:gd name="T24" fmla="*/ 16 w 38"/>
                <a:gd name="T25" fmla="*/ 9 h 37"/>
                <a:gd name="T26" fmla="*/ 15 w 38"/>
                <a:gd name="T27" fmla="*/ 8 h 37"/>
                <a:gd name="T28" fmla="*/ 11 w 38"/>
                <a:gd name="T29" fmla="*/ 7 h 37"/>
                <a:gd name="T30" fmla="*/ 9 w 38"/>
                <a:gd name="T31" fmla="*/ 7 h 37"/>
                <a:gd name="T32" fmla="*/ 6 w 38"/>
                <a:gd name="T33" fmla="*/ 11 h 37"/>
                <a:gd name="T34" fmla="*/ 6 w 38"/>
                <a:gd name="T35" fmla="*/ 11 h 37"/>
                <a:gd name="T36" fmla="*/ 1 w 38"/>
                <a:gd name="T37" fmla="*/ 16 h 37"/>
                <a:gd name="T38" fmla="*/ 1 w 38"/>
                <a:gd name="T39" fmla="*/ 21 h 37"/>
                <a:gd name="T40" fmla="*/ 5 w 38"/>
                <a:gd name="T41" fmla="*/ 24 h 37"/>
                <a:gd name="T42" fmla="*/ 6 w 38"/>
                <a:gd name="T43" fmla="*/ 23 h 37"/>
                <a:gd name="T44" fmla="*/ 5 w 38"/>
                <a:gd name="T45" fmla="*/ 25 h 37"/>
                <a:gd name="T46" fmla="*/ 4 w 38"/>
                <a:gd name="T47" fmla="*/ 26 h 37"/>
                <a:gd name="T48" fmla="*/ 3 w 38"/>
                <a:gd name="T49" fmla="*/ 29 h 37"/>
                <a:gd name="T50" fmla="*/ 4 w 38"/>
                <a:gd name="T51" fmla="*/ 32 h 37"/>
                <a:gd name="T52" fmla="*/ 4 w 38"/>
                <a:gd name="T53" fmla="*/ 36 h 37"/>
                <a:gd name="T54" fmla="*/ 8 w 38"/>
                <a:gd name="T55" fmla="*/ 35 h 37"/>
                <a:gd name="T56" fmla="*/ 8 w 38"/>
                <a:gd name="T57" fmla="*/ 35 h 37"/>
                <a:gd name="T58" fmla="*/ 10 w 38"/>
                <a:gd name="T59" fmla="*/ 36 h 37"/>
                <a:gd name="T60" fmla="*/ 12 w 38"/>
                <a:gd name="T61" fmla="*/ 36 h 37"/>
                <a:gd name="T62" fmla="*/ 16 w 38"/>
                <a:gd name="T63" fmla="*/ 35 h 37"/>
                <a:gd name="T64" fmla="*/ 17 w 38"/>
                <a:gd name="T65" fmla="*/ 37 h 37"/>
                <a:gd name="T66" fmla="*/ 20 w 38"/>
                <a:gd name="T67" fmla="*/ 33 h 37"/>
                <a:gd name="T68" fmla="*/ 21 w 38"/>
                <a:gd name="T69" fmla="*/ 32 h 37"/>
                <a:gd name="T70" fmla="*/ 22 w 38"/>
                <a:gd name="T71" fmla="*/ 32 h 37"/>
                <a:gd name="T72" fmla="*/ 24 w 38"/>
                <a:gd name="T73" fmla="*/ 32 h 37"/>
                <a:gd name="T74" fmla="*/ 24 w 38"/>
                <a:gd name="T75" fmla="*/ 31 h 37"/>
                <a:gd name="T76" fmla="*/ 25 w 38"/>
                <a:gd name="T77" fmla="*/ 30 h 37"/>
                <a:gd name="T78" fmla="*/ 27 w 38"/>
                <a:gd name="T79" fmla="*/ 30 h 37"/>
                <a:gd name="T80" fmla="*/ 30 w 38"/>
                <a:gd name="T81" fmla="*/ 28 h 37"/>
                <a:gd name="T82" fmla="*/ 30 w 38"/>
                <a:gd name="T83" fmla="*/ 24 h 37"/>
                <a:gd name="T84" fmla="*/ 30 w 38"/>
                <a:gd name="T85" fmla="*/ 23 h 37"/>
                <a:gd name="T86" fmla="*/ 30 w 38"/>
                <a:gd name="T87" fmla="*/ 22 h 37"/>
                <a:gd name="T88" fmla="*/ 30 w 38"/>
                <a:gd name="T89" fmla="*/ 20 h 37"/>
                <a:gd name="T90" fmla="*/ 32 w 38"/>
                <a:gd name="T91" fmla="*/ 21 h 37"/>
                <a:gd name="T92" fmla="*/ 33 w 38"/>
                <a:gd name="T93" fmla="*/ 21 h 37"/>
                <a:gd name="T94" fmla="*/ 33 w 38"/>
                <a:gd name="T95" fmla="*/ 21 h 37"/>
                <a:gd name="T96" fmla="*/ 36 w 38"/>
                <a:gd name="T97" fmla="*/ 17 h 37"/>
                <a:gd name="T98" fmla="*/ 36 w 38"/>
                <a:gd name="T99" fmla="*/ 17 h 37"/>
                <a:gd name="T100" fmla="*/ 38 w 38"/>
                <a:gd name="T101" fmla="*/ 14 h 37"/>
                <a:gd name="T102" fmla="*/ 37 w 38"/>
                <a:gd name="T103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8" h="37">
                  <a:moveTo>
                    <a:pt x="37" y="11"/>
                  </a:moveTo>
                  <a:cubicBezTo>
                    <a:pt x="37" y="10"/>
                    <a:pt x="37" y="10"/>
                    <a:pt x="37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6" y="5"/>
                  </a:cubicBezTo>
                  <a:cubicBezTo>
                    <a:pt x="35" y="3"/>
                    <a:pt x="34" y="3"/>
                    <a:pt x="33" y="3"/>
                  </a:cubicBezTo>
                  <a:cubicBezTo>
                    <a:pt x="32" y="3"/>
                    <a:pt x="31" y="3"/>
                    <a:pt x="30" y="5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8" y="4"/>
                    <a:pt x="27" y="3"/>
                    <a:pt x="26" y="2"/>
                  </a:cubicBezTo>
                  <a:cubicBezTo>
                    <a:pt x="25" y="1"/>
                    <a:pt x="24" y="0"/>
                    <a:pt x="23" y="0"/>
                  </a:cubicBezTo>
                  <a:cubicBezTo>
                    <a:pt x="20" y="0"/>
                    <a:pt x="19" y="4"/>
                    <a:pt x="18" y="6"/>
                  </a:cubicBezTo>
                  <a:cubicBezTo>
                    <a:pt x="18" y="6"/>
                    <a:pt x="18" y="6"/>
                    <a:pt x="17" y="7"/>
                  </a:cubicBezTo>
                  <a:cubicBezTo>
                    <a:pt x="17" y="7"/>
                    <a:pt x="16" y="8"/>
                    <a:pt x="16" y="9"/>
                  </a:cubicBezTo>
                  <a:cubicBezTo>
                    <a:pt x="16" y="9"/>
                    <a:pt x="16" y="9"/>
                    <a:pt x="15" y="8"/>
                  </a:cubicBezTo>
                  <a:cubicBezTo>
                    <a:pt x="14" y="7"/>
                    <a:pt x="13" y="7"/>
                    <a:pt x="11" y="7"/>
                  </a:cubicBezTo>
                  <a:cubicBezTo>
                    <a:pt x="11" y="7"/>
                    <a:pt x="10" y="7"/>
                    <a:pt x="9" y="7"/>
                  </a:cubicBezTo>
                  <a:cubicBezTo>
                    <a:pt x="7" y="8"/>
                    <a:pt x="6" y="10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4" y="12"/>
                    <a:pt x="1" y="13"/>
                    <a:pt x="1" y="16"/>
                  </a:cubicBezTo>
                  <a:cubicBezTo>
                    <a:pt x="0" y="18"/>
                    <a:pt x="0" y="20"/>
                    <a:pt x="1" y="21"/>
                  </a:cubicBezTo>
                  <a:cubicBezTo>
                    <a:pt x="2" y="23"/>
                    <a:pt x="3" y="24"/>
                    <a:pt x="5" y="24"/>
                  </a:cubicBezTo>
                  <a:cubicBezTo>
                    <a:pt x="5" y="24"/>
                    <a:pt x="5" y="23"/>
                    <a:pt x="6" y="23"/>
                  </a:cubicBezTo>
                  <a:cubicBezTo>
                    <a:pt x="5" y="24"/>
                    <a:pt x="5" y="25"/>
                    <a:pt x="5" y="25"/>
                  </a:cubicBezTo>
                  <a:cubicBezTo>
                    <a:pt x="5" y="25"/>
                    <a:pt x="5" y="25"/>
                    <a:pt x="4" y="26"/>
                  </a:cubicBezTo>
                  <a:cubicBezTo>
                    <a:pt x="4" y="27"/>
                    <a:pt x="3" y="28"/>
                    <a:pt x="3" y="29"/>
                  </a:cubicBezTo>
                  <a:cubicBezTo>
                    <a:pt x="3" y="31"/>
                    <a:pt x="4" y="31"/>
                    <a:pt x="4" y="32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4" y="36"/>
                    <a:pt x="8" y="35"/>
                    <a:pt x="8" y="35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1" y="36"/>
                    <a:pt x="12" y="36"/>
                    <a:pt x="12" y="36"/>
                  </a:cubicBezTo>
                  <a:cubicBezTo>
                    <a:pt x="14" y="36"/>
                    <a:pt x="15" y="36"/>
                    <a:pt x="16" y="35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5" y="31"/>
                    <a:pt x="25" y="30"/>
                    <a:pt x="25" y="30"/>
                  </a:cubicBezTo>
                  <a:cubicBezTo>
                    <a:pt x="26" y="30"/>
                    <a:pt x="26" y="30"/>
                    <a:pt x="27" y="30"/>
                  </a:cubicBezTo>
                  <a:cubicBezTo>
                    <a:pt x="28" y="30"/>
                    <a:pt x="29" y="29"/>
                    <a:pt x="30" y="28"/>
                  </a:cubicBezTo>
                  <a:cubicBezTo>
                    <a:pt x="31" y="26"/>
                    <a:pt x="30" y="25"/>
                    <a:pt x="30" y="24"/>
                  </a:cubicBezTo>
                  <a:cubicBezTo>
                    <a:pt x="30" y="24"/>
                    <a:pt x="30" y="23"/>
                    <a:pt x="30" y="23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30" y="21"/>
                    <a:pt x="30" y="21"/>
                    <a:pt x="30" y="20"/>
                  </a:cubicBezTo>
                  <a:cubicBezTo>
                    <a:pt x="30" y="21"/>
                    <a:pt x="31" y="21"/>
                    <a:pt x="32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4" y="21"/>
                    <a:pt x="36" y="20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7" y="16"/>
                    <a:pt x="37" y="15"/>
                    <a:pt x="38" y="14"/>
                  </a:cubicBezTo>
                  <a:cubicBezTo>
                    <a:pt x="38" y="13"/>
                    <a:pt x="38" y="12"/>
                    <a:pt x="37" y="11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19197415" y="7116617"/>
              <a:ext cx="49242" cy="44798"/>
            </a:xfrm>
            <a:custGeom>
              <a:avLst/>
              <a:gdLst>
                <a:gd name="T0" fmla="*/ 5 w 9"/>
                <a:gd name="T1" fmla="*/ 9 h 9"/>
                <a:gd name="T2" fmla="*/ 7 w 9"/>
                <a:gd name="T3" fmla="*/ 8 h 9"/>
                <a:gd name="T4" fmla="*/ 9 w 9"/>
                <a:gd name="T5" fmla="*/ 3 h 9"/>
                <a:gd name="T6" fmla="*/ 5 w 9"/>
                <a:gd name="T7" fmla="*/ 0 h 9"/>
                <a:gd name="T8" fmla="*/ 5 w 9"/>
                <a:gd name="T9" fmla="*/ 0 h 9"/>
                <a:gd name="T10" fmla="*/ 2 w 9"/>
                <a:gd name="T11" fmla="*/ 1 h 9"/>
                <a:gd name="T12" fmla="*/ 1 w 9"/>
                <a:gd name="T13" fmla="*/ 6 h 9"/>
                <a:gd name="T14" fmla="*/ 5 w 9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5" y="9"/>
                    <a:pt x="6" y="9"/>
                    <a:pt x="7" y="8"/>
                  </a:cubicBezTo>
                  <a:cubicBezTo>
                    <a:pt x="9" y="7"/>
                    <a:pt x="9" y="4"/>
                    <a:pt x="9" y="3"/>
                  </a:cubicBezTo>
                  <a:cubicBezTo>
                    <a:pt x="8" y="1"/>
                    <a:pt x="7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2" y="1"/>
                  </a:cubicBezTo>
                  <a:cubicBezTo>
                    <a:pt x="1" y="3"/>
                    <a:pt x="0" y="4"/>
                    <a:pt x="1" y="6"/>
                  </a:cubicBezTo>
                  <a:cubicBezTo>
                    <a:pt x="1" y="8"/>
                    <a:pt x="3" y="9"/>
                    <a:pt x="5" y="9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auto">
            <a:xfrm>
              <a:off x="19252812" y="7260343"/>
              <a:ext cx="47190" cy="50397"/>
            </a:xfrm>
            <a:custGeom>
              <a:avLst/>
              <a:gdLst>
                <a:gd name="T0" fmla="*/ 2 w 9"/>
                <a:gd name="T1" fmla="*/ 10 h 10"/>
                <a:gd name="T2" fmla="*/ 3 w 9"/>
                <a:gd name="T3" fmla="*/ 10 h 10"/>
                <a:gd name="T4" fmla="*/ 4 w 9"/>
                <a:gd name="T5" fmla="*/ 10 h 10"/>
                <a:gd name="T6" fmla="*/ 8 w 9"/>
                <a:gd name="T7" fmla="*/ 8 h 10"/>
                <a:gd name="T8" fmla="*/ 9 w 9"/>
                <a:gd name="T9" fmla="*/ 4 h 10"/>
                <a:gd name="T10" fmla="*/ 5 w 9"/>
                <a:gd name="T11" fmla="*/ 0 h 10"/>
                <a:gd name="T12" fmla="*/ 0 w 9"/>
                <a:gd name="T13" fmla="*/ 3 h 10"/>
                <a:gd name="T14" fmla="*/ 1 w 9"/>
                <a:gd name="T15" fmla="*/ 8 h 10"/>
                <a:gd name="T16" fmla="*/ 2 w 9"/>
                <a:gd name="T1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0">
                  <a:moveTo>
                    <a:pt x="2" y="10"/>
                  </a:move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10"/>
                    <a:pt x="7" y="9"/>
                    <a:pt x="8" y="8"/>
                  </a:cubicBezTo>
                  <a:cubicBezTo>
                    <a:pt x="9" y="7"/>
                    <a:pt x="9" y="6"/>
                    <a:pt x="9" y="4"/>
                  </a:cubicBezTo>
                  <a:cubicBezTo>
                    <a:pt x="9" y="2"/>
                    <a:pt x="7" y="0"/>
                    <a:pt x="5" y="0"/>
                  </a:cubicBezTo>
                  <a:cubicBezTo>
                    <a:pt x="3" y="0"/>
                    <a:pt x="1" y="2"/>
                    <a:pt x="0" y="3"/>
                  </a:cubicBezTo>
                  <a:cubicBezTo>
                    <a:pt x="0" y="5"/>
                    <a:pt x="0" y="7"/>
                    <a:pt x="1" y="8"/>
                  </a:cubicBezTo>
                  <a:lnTo>
                    <a:pt x="2" y="10"/>
                  </a:ln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7" name="Freeform 46"/>
            <p:cNvSpPr>
              <a:spLocks/>
            </p:cNvSpPr>
            <p:nvPr/>
          </p:nvSpPr>
          <p:spPr bwMode="auto">
            <a:xfrm>
              <a:off x="19072258" y="7964040"/>
              <a:ext cx="207227" cy="113861"/>
            </a:xfrm>
            <a:custGeom>
              <a:avLst/>
              <a:gdLst>
                <a:gd name="T0" fmla="*/ 18 w 38"/>
                <a:gd name="T1" fmla="*/ 1 h 23"/>
                <a:gd name="T2" fmla="*/ 17 w 38"/>
                <a:gd name="T3" fmla="*/ 0 h 23"/>
                <a:gd name="T4" fmla="*/ 1 w 38"/>
                <a:gd name="T5" fmla="*/ 9 h 23"/>
                <a:gd name="T6" fmla="*/ 2 w 38"/>
                <a:gd name="T7" fmla="*/ 16 h 23"/>
                <a:gd name="T8" fmla="*/ 13 w 38"/>
                <a:gd name="T9" fmla="*/ 19 h 23"/>
                <a:gd name="T10" fmla="*/ 17 w 38"/>
                <a:gd name="T11" fmla="*/ 20 h 23"/>
                <a:gd name="T12" fmla="*/ 18 w 38"/>
                <a:gd name="T13" fmla="*/ 21 h 23"/>
                <a:gd name="T14" fmla="*/ 31 w 38"/>
                <a:gd name="T15" fmla="*/ 23 h 23"/>
                <a:gd name="T16" fmla="*/ 36 w 38"/>
                <a:gd name="T17" fmla="*/ 22 h 23"/>
                <a:gd name="T18" fmla="*/ 38 w 38"/>
                <a:gd name="T19" fmla="*/ 22 h 23"/>
                <a:gd name="T20" fmla="*/ 38 w 38"/>
                <a:gd name="T21" fmla="*/ 19 h 23"/>
                <a:gd name="T22" fmla="*/ 18 w 38"/>
                <a:gd name="T23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" h="23">
                  <a:moveTo>
                    <a:pt x="18" y="1"/>
                  </a:moveTo>
                  <a:cubicBezTo>
                    <a:pt x="18" y="1"/>
                    <a:pt x="18" y="0"/>
                    <a:pt x="17" y="0"/>
                  </a:cubicBezTo>
                  <a:cubicBezTo>
                    <a:pt x="13" y="0"/>
                    <a:pt x="3" y="4"/>
                    <a:pt x="1" y="9"/>
                  </a:cubicBezTo>
                  <a:cubicBezTo>
                    <a:pt x="0" y="11"/>
                    <a:pt x="0" y="14"/>
                    <a:pt x="2" y="16"/>
                  </a:cubicBezTo>
                  <a:cubicBezTo>
                    <a:pt x="4" y="18"/>
                    <a:pt x="8" y="18"/>
                    <a:pt x="13" y="19"/>
                  </a:cubicBezTo>
                  <a:cubicBezTo>
                    <a:pt x="15" y="20"/>
                    <a:pt x="16" y="20"/>
                    <a:pt x="17" y="20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2" y="22"/>
                    <a:pt x="26" y="23"/>
                    <a:pt x="31" y="23"/>
                  </a:cubicBezTo>
                  <a:cubicBezTo>
                    <a:pt x="33" y="23"/>
                    <a:pt x="34" y="23"/>
                    <a:pt x="36" y="22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7" y="10"/>
                    <a:pt x="26" y="2"/>
                    <a:pt x="18" y="1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auto">
            <a:xfrm>
              <a:off x="18641391" y="6125469"/>
              <a:ext cx="223641" cy="197856"/>
            </a:xfrm>
            <a:custGeom>
              <a:avLst/>
              <a:gdLst>
                <a:gd name="T0" fmla="*/ 33 w 41"/>
                <a:gd name="T1" fmla="*/ 0 h 40"/>
                <a:gd name="T2" fmla="*/ 24 w 41"/>
                <a:gd name="T3" fmla="*/ 3 h 40"/>
                <a:gd name="T4" fmla="*/ 19 w 41"/>
                <a:gd name="T5" fmla="*/ 5 h 40"/>
                <a:gd name="T6" fmla="*/ 18 w 41"/>
                <a:gd name="T7" fmla="*/ 5 h 40"/>
                <a:gd name="T8" fmla="*/ 17 w 41"/>
                <a:gd name="T9" fmla="*/ 5 h 40"/>
                <a:gd name="T10" fmla="*/ 15 w 41"/>
                <a:gd name="T11" fmla="*/ 5 h 40"/>
                <a:gd name="T12" fmla="*/ 10 w 41"/>
                <a:gd name="T13" fmla="*/ 7 h 40"/>
                <a:gd name="T14" fmla="*/ 4 w 41"/>
                <a:gd name="T15" fmla="*/ 15 h 40"/>
                <a:gd name="T16" fmla="*/ 4 w 41"/>
                <a:gd name="T17" fmla="*/ 17 h 40"/>
                <a:gd name="T18" fmla="*/ 2 w 41"/>
                <a:gd name="T19" fmla="*/ 29 h 40"/>
                <a:gd name="T20" fmla="*/ 3 w 41"/>
                <a:gd name="T21" fmla="*/ 31 h 40"/>
                <a:gd name="T22" fmla="*/ 10 w 41"/>
                <a:gd name="T23" fmla="*/ 40 h 40"/>
                <a:gd name="T24" fmla="*/ 10 w 41"/>
                <a:gd name="T25" fmla="*/ 40 h 40"/>
                <a:gd name="T26" fmla="*/ 14 w 41"/>
                <a:gd name="T27" fmla="*/ 37 h 40"/>
                <a:gd name="T28" fmla="*/ 15 w 41"/>
                <a:gd name="T29" fmla="*/ 37 h 40"/>
                <a:gd name="T30" fmla="*/ 19 w 41"/>
                <a:gd name="T31" fmla="*/ 35 h 40"/>
                <a:gd name="T32" fmla="*/ 29 w 41"/>
                <a:gd name="T33" fmla="*/ 28 h 40"/>
                <a:gd name="T34" fmla="*/ 31 w 41"/>
                <a:gd name="T35" fmla="*/ 25 h 40"/>
                <a:gd name="T36" fmla="*/ 35 w 41"/>
                <a:gd name="T37" fmla="*/ 19 h 40"/>
                <a:gd name="T38" fmla="*/ 40 w 41"/>
                <a:gd name="T39" fmla="*/ 6 h 40"/>
                <a:gd name="T40" fmla="*/ 33 w 41"/>
                <a:gd name="T4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1" h="40">
                  <a:moveTo>
                    <a:pt x="33" y="0"/>
                  </a:moveTo>
                  <a:cubicBezTo>
                    <a:pt x="30" y="0"/>
                    <a:pt x="27" y="1"/>
                    <a:pt x="24" y="3"/>
                  </a:cubicBezTo>
                  <a:cubicBezTo>
                    <a:pt x="22" y="4"/>
                    <a:pt x="20" y="5"/>
                    <a:pt x="19" y="5"/>
                  </a:cubicBezTo>
                  <a:cubicBezTo>
                    <a:pt x="19" y="5"/>
                    <a:pt x="19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6" y="5"/>
                    <a:pt x="15" y="5"/>
                    <a:pt x="15" y="5"/>
                  </a:cubicBezTo>
                  <a:cubicBezTo>
                    <a:pt x="13" y="5"/>
                    <a:pt x="11" y="5"/>
                    <a:pt x="10" y="7"/>
                  </a:cubicBezTo>
                  <a:cubicBezTo>
                    <a:pt x="7" y="9"/>
                    <a:pt x="5" y="12"/>
                    <a:pt x="4" y="15"/>
                  </a:cubicBezTo>
                  <a:cubicBezTo>
                    <a:pt x="4" y="16"/>
                    <a:pt x="4" y="17"/>
                    <a:pt x="4" y="17"/>
                  </a:cubicBezTo>
                  <a:cubicBezTo>
                    <a:pt x="2" y="21"/>
                    <a:pt x="0" y="25"/>
                    <a:pt x="2" y="29"/>
                  </a:cubicBezTo>
                  <a:cubicBezTo>
                    <a:pt x="2" y="30"/>
                    <a:pt x="2" y="30"/>
                    <a:pt x="3" y="31"/>
                  </a:cubicBezTo>
                  <a:cubicBezTo>
                    <a:pt x="3" y="34"/>
                    <a:pt x="5" y="40"/>
                    <a:pt x="10" y="40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2" y="39"/>
                    <a:pt x="14" y="38"/>
                    <a:pt x="14" y="37"/>
                  </a:cubicBezTo>
                  <a:cubicBezTo>
                    <a:pt x="14" y="37"/>
                    <a:pt x="14" y="37"/>
                    <a:pt x="15" y="37"/>
                  </a:cubicBezTo>
                  <a:cubicBezTo>
                    <a:pt x="16" y="36"/>
                    <a:pt x="17" y="36"/>
                    <a:pt x="19" y="35"/>
                  </a:cubicBezTo>
                  <a:cubicBezTo>
                    <a:pt x="23" y="34"/>
                    <a:pt x="26" y="32"/>
                    <a:pt x="29" y="28"/>
                  </a:cubicBezTo>
                  <a:cubicBezTo>
                    <a:pt x="29" y="27"/>
                    <a:pt x="30" y="26"/>
                    <a:pt x="31" y="25"/>
                  </a:cubicBezTo>
                  <a:cubicBezTo>
                    <a:pt x="32" y="23"/>
                    <a:pt x="34" y="21"/>
                    <a:pt x="35" y="19"/>
                  </a:cubicBezTo>
                  <a:cubicBezTo>
                    <a:pt x="37" y="16"/>
                    <a:pt x="41" y="12"/>
                    <a:pt x="40" y="6"/>
                  </a:cubicBezTo>
                  <a:cubicBezTo>
                    <a:pt x="39" y="0"/>
                    <a:pt x="35" y="0"/>
                    <a:pt x="33" y="0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auto">
            <a:xfrm>
              <a:off x="19000447" y="6194532"/>
              <a:ext cx="141571" cy="182924"/>
            </a:xfrm>
            <a:custGeom>
              <a:avLst/>
              <a:gdLst>
                <a:gd name="T0" fmla="*/ 15 w 26"/>
                <a:gd name="T1" fmla="*/ 37 h 37"/>
                <a:gd name="T2" fmla="*/ 18 w 26"/>
                <a:gd name="T3" fmla="*/ 36 h 37"/>
                <a:gd name="T4" fmla="*/ 21 w 26"/>
                <a:gd name="T5" fmla="*/ 29 h 37"/>
                <a:gd name="T6" fmla="*/ 21 w 26"/>
                <a:gd name="T7" fmla="*/ 28 h 37"/>
                <a:gd name="T8" fmla="*/ 24 w 26"/>
                <a:gd name="T9" fmla="*/ 20 h 37"/>
                <a:gd name="T10" fmla="*/ 19 w 26"/>
                <a:gd name="T11" fmla="*/ 2 h 37"/>
                <a:gd name="T12" fmla="*/ 14 w 26"/>
                <a:gd name="T13" fmla="*/ 0 h 37"/>
                <a:gd name="T14" fmla="*/ 3 w 26"/>
                <a:gd name="T15" fmla="*/ 9 h 37"/>
                <a:gd name="T16" fmla="*/ 2 w 26"/>
                <a:gd name="T17" fmla="*/ 27 h 37"/>
                <a:gd name="T18" fmla="*/ 15 w 26"/>
                <a:gd name="T19" fmla="*/ 37 h 37"/>
                <a:gd name="T20" fmla="*/ 15 w 26"/>
                <a:gd name="T21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37">
                  <a:moveTo>
                    <a:pt x="15" y="37"/>
                  </a:moveTo>
                  <a:cubicBezTo>
                    <a:pt x="16" y="37"/>
                    <a:pt x="17" y="36"/>
                    <a:pt x="18" y="36"/>
                  </a:cubicBezTo>
                  <a:cubicBezTo>
                    <a:pt x="21" y="35"/>
                    <a:pt x="21" y="31"/>
                    <a:pt x="21" y="29"/>
                  </a:cubicBezTo>
                  <a:cubicBezTo>
                    <a:pt x="21" y="29"/>
                    <a:pt x="21" y="28"/>
                    <a:pt x="21" y="28"/>
                  </a:cubicBezTo>
                  <a:cubicBezTo>
                    <a:pt x="22" y="25"/>
                    <a:pt x="23" y="23"/>
                    <a:pt x="24" y="20"/>
                  </a:cubicBezTo>
                  <a:cubicBezTo>
                    <a:pt x="26" y="14"/>
                    <a:pt x="25" y="6"/>
                    <a:pt x="19" y="2"/>
                  </a:cubicBezTo>
                  <a:cubicBezTo>
                    <a:pt x="17" y="1"/>
                    <a:pt x="16" y="0"/>
                    <a:pt x="14" y="0"/>
                  </a:cubicBezTo>
                  <a:cubicBezTo>
                    <a:pt x="10" y="0"/>
                    <a:pt x="6" y="4"/>
                    <a:pt x="3" y="9"/>
                  </a:cubicBezTo>
                  <a:cubicBezTo>
                    <a:pt x="0" y="15"/>
                    <a:pt x="0" y="21"/>
                    <a:pt x="2" y="27"/>
                  </a:cubicBezTo>
                  <a:cubicBezTo>
                    <a:pt x="4" y="30"/>
                    <a:pt x="9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auto">
            <a:xfrm>
              <a:off x="19066103" y="6685440"/>
              <a:ext cx="75915" cy="89595"/>
            </a:xfrm>
            <a:custGeom>
              <a:avLst/>
              <a:gdLst>
                <a:gd name="T0" fmla="*/ 13 w 14"/>
                <a:gd name="T1" fmla="*/ 2 h 18"/>
                <a:gd name="T2" fmla="*/ 9 w 14"/>
                <a:gd name="T3" fmla="*/ 0 h 18"/>
                <a:gd name="T4" fmla="*/ 7 w 14"/>
                <a:gd name="T5" fmla="*/ 1 h 18"/>
                <a:gd name="T6" fmla="*/ 3 w 14"/>
                <a:gd name="T7" fmla="*/ 8 h 18"/>
                <a:gd name="T8" fmla="*/ 3 w 14"/>
                <a:gd name="T9" fmla="*/ 8 h 18"/>
                <a:gd name="T10" fmla="*/ 3 w 14"/>
                <a:gd name="T11" fmla="*/ 9 h 18"/>
                <a:gd name="T12" fmla="*/ 0 w 14"/>
                <a:gd name="T13" fmla="*/ 13 h 18"/>
                <a:gd name="T14" fmla="*/ 1 w 14"/>
                <a:gd name="T15" fmla="*/ 16 h 18"/>
                <a:gd name="T16" fmla="*/ 4 w 14"/>
                <a:gd name="T17" fmla="*/ 18 h 18"/>
                <a:gd name="T18" fmla="*/ 5 w 14"/>
                <a:gd name="T19" fmla="*/ 18 h 18"/>
                <a:gd name="T20" fmla="*/ 9 w 14"/>
                <a:gd name="T21" fmla="*/ 14 h 18"/>
                <a:gd name="T22" fmla="*/ 10 w 14"/>
                <a:gd name="T23" fmla="*/ 13 h 18"/>
                <a:gd name="T24" fmla="*/ 12 w 14"/>
                <a:gd name="T25" fmla="*/ 10 h 18"/>
                <a:gd name="T26" fmla="*/ 13 w 14"/>
                <a:gd name="T27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" h="18">
                  <a:moveTo>
                    <a:pt x="13" y="2"/>
                  </a:moveTo>
                  <a:cubicBezTo>
                    <a:pt x="12" y="1"/>
                    <a:pt x="11" y="0"/>
                    <a:pt x="9" y="0"/>
                  </a:cubicBezTo>
                  <a:cubicBezTo>
                    <a:pt x="8" y="0"/>
                    <a:pt x="8" y="0"/>
                    <a:pt x="7" y="1"/>
                  </a:cubicBezTo>
                  <a:cubicBezTo>
                    <a:pt x="4" y="2"/>
                    <a:pt x="4" y="5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9"/>
                    <a:pt x="3" y="9"/>
                  </a:cubicBezTo>
                  <a:cubicBezTo>
                    <a:pt x="2" y="9"/>
                    <a:pt x="0" y="11"/>
                    <a:pt x="0" y="13"/>
                  </a:cubicBezTo>
                  <a:cubicBezTo>
                    <a:pt x="0" y="14"/>
                    <a:pt x="0" y="15"/>
                    <a:pt x="1" y="16"/>
                  </a:cubicBezTo>
                  <a:cubicBezTo>
                    <a:pt x="2" y="17"/>
                    <a:pt x="3" y="18"/>
                    <a:pt x="4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8" y="17"/>
                    <a:pt x="8" y="15"/>
                    <a:pt x="9" y="14"/>
                  </a:cubicBezTo>
                  <a:cubicBezTo>
                    <a:pt x="9" y="13"/>
                    <a:pt x="9" y="13"/>
                    <a:pt x="10" y="13"/>
                  </a:cubicBezTo>
                  <a:cubicBezTo>
                    <a:pt x="11" y="12"/>
                    <a:pt x="12" y="11"/>
                    <a:pt x="12" y="10"/>
                  </a:cubicBezTo>
                  <a:cubicBezTo>
                    <a:pt x="13" y="8"/>
                    <a:pt x="14" y="5"/>
                    <a:pt x="13" y="2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auto">
            <a:xfrm>
              <a:off x="13497655" y="7577660"/>
              <a:ext cx="32828" cy="59730"/>
            </a:xfrm>
            <a:custGeom>
              <a:avLst/>
              <a:gdLst>
                <a:gd name="T0" fmla="*/ 4 w 6"/>
                <a:gd name="T1" fmla="*/ 5 h 12"/>
                <a:gd name="T2" fmla="*/ 3 w 6"/>
                <a:gd name="T3" fmla="*/ 2 h 12"/>
                <a:gd name="T4" fmla="*/ 1 w 6"/>
                <a:gd name="T5" fmla="*/ 5 h 12"/>
                <a:gd name="T6" fmla="*/ 2 w 6"/>
                <a:gd name="T7" fmla="*/ 7 h 12"/>
                <a:gd name="T8" fmla="*/ 5 w 6"/>
                <a:gd name="T9" fmla="*/ 11 h 12"/>
                <a:gd name="T10" fmla="*/ 5 w 6"/>
                <a:gd name="T11" fmla="*/ 6 h 12"/>
                <a:gd name="T12" fmla="*/ 4 w 6"/>
                <a:gd name="T13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2">
                  <a:moveTo>
                    <a:pt x="4" y="5"/>
                  </a:moveTo>
                  <a:cubicBezTo>
                    <a:pt x="4" y="4"/>
                    <a:pt x="4" y="2"/>
                    <a:pt x="3" y="2"/>
                  </a:cubicBezTo>
                  <a:cubicBezTo>
                    <a:pt x="0" y="0"/>
                    <a:pt x="0" y="3"/>
                    <a:pt x="1" y="5"/>
                  </a:cubicBezTo>
                  <a:cubicBezTo>
                    <a:pt x="1" y="6"/>
                    <a:pt x="2" y="6"/>
                    <a:pt x="2" y="7"/>
                  </a:cubicBezTo>
                  <a:cubicBezTo>
                    <a:pt x="3" y="8"/>
                    <a:pt x="3" y="12"/>
                    <a:pt x="5" y="11"/>
                  </a:cubicBezTo>
                  <a:cubicBezTo>
                    <a:pt x="6" y="10"/>
                    <a:pt x="5" y="8"/>
                    <a:pt x="5" y="6"/>
                  </a:cubicBezTo>
                  <a:cubicBezTo>
                    <a:pt x="4" y="6"/>
                    <a:pt x="4" y="5"/>
                    <a:pt x="4" y="5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auto">
            <a:xfrm>
              <a:off x="14406580" y="6069472"/>
              <a:ext cx="1614727" cy="2385476"/>
            </a:xfrm>
            <a:custGeom>
              <a:avLst/>
              <a:gdLst>
                <a:gd name="T0" fmla="*/ 267 w 296"/>
                <a:gd name="T1" fmla="*/ 110 h 481"/>
                <a:gd name="T2" fmla="*/ 272 w 296"/>
                <a:gd name="T3" fmla="*/ 108 h 481"/>
                <a:gd name="T4" fmla="*/ 278 w 296"/>
                <a:gd name="T5" fmla="*/ 106 h 481"/>
                <a:gd name="T6" fmla="*/ 285 w 296"/>
                <a:gd name="T7" fmla="*/ 104 h 481"/>
                <a:gd name="T8" fmla="*/ 287 w 296"/>
                <a:gd name="T9" fmla="*/ 103 h 481"/>
                <a:gd name="T10" fmla="*/ 296 w 296"/>
                <a:gd name="T11" fmla="*/ 76 h 481"/>
                <a:gd name="T12" fmla="*/ 293 w 296"/>
                <a:gd name="T13" fmla="*/ 75 h 481"/>
                <a:gd name="T14" fmla="*/ 120 w 296"/>
                <a:gd name="T15" fmla="*/ 1 h 481"/>
                <a:gd name="T16" fmla="*/ 117 w 296"/>
                <a:gd name="T17" fmla="*/ 0 h 481"/>
                <a:gd name="T18" fmla="*/ 116 w 296"/>
                <a:gd name="T19" fmla="*/ 3 h 481"/>
                <a:gd name="T20" fmla="*/ 99 w 296"/>
                <a:gd name="T21" fmla="*/ 37 h 481"/>
                <a:gd name="T22" fmla="*/ 97 w 296"/>
                <a:gd name="T23" fmla="*/ 40 h 481"/>
                <a:gd name="T24" fmla="*/ 83 w 296"/>
                <a:gd name="T25" fmla="*/ 69 h 481"/>
                <a:gd name="T26" fmla="*/ 62 w 296"/>
                <a:gd name="T27" fmla="*/ 110 h 481"/>
                <a:gd name="T28" fmla="*/ 24 w 296"/>
                <a:gd name="T29" fmla="*/ 184 h 481"/>
                <a:gd name="T30" fmla="*/ 20 w 296"/>
                <a:gd name="T31" fmla="*/ 191 h 481"/>
                <a:gd name="T32" fmla="*/ 5 w 296"/>
                <a:gd name="T33" fmla="*/ 235 h 481"/>
                <a:gd name="T34" fmla="*/ 10 w 296"/>
                <a:gd name="T35" fmla="*/ 239 h 481"/>
                <a:gd name="T36" fmla="*/ 14 w 296"/>
                <a:gd name="T37" fmla="*/ 241 h 481"/>
                <a:gd name="T38" fmla="*/ 22 w 296"/>
                <a:gd name="T39" fmla="*/ 263 h 481"/>
                <a:gd name="T40" fmla="*/ 23 w 296"/>
                <a:gd name="T41" fmla="*/ 266 h 481"/>
                <a:gd name="T42" fmla="*/ 23 w 296"/>
                <a:gd name="T43" fmla="*/ 272 h 481"/>
                <a:gd name="T44" fmla="*/ 23 w 296"/>
                <a:gd name="T45" fmla="*/ 280 h 481"/>
                <a:gd name="T46" fmla="*/ 25 w 296"/>
                <a:gd name="T47" fmla="*/ 284 h 481"/>
                <a:gd name="T48" fmla="*/ 29 w 296"/>
                <a:gd name="T49" fmla="*/ 287 h 481"/>
                <a:gd name="T50" fmla="*/ 29 w 296"/>
                <a:gd name="T51" fmla="*/ 285 h 481"/>
                <a:gd name="T52" fmla="*/ 33 w 296"/>
                <a:gd name="T53" fmla="*/ 287 h 481"/>
                <a:gd name="T54" fmla="*/ 38 w 296"/>
                <a:gd name="T55" fmla="*/ 310 h 481"/>
                <a:gd name="T56" fmla="*/ 38 w 296"/>
                <a:gd name="T57" fmla="*/ 312 h 481"/>
                <a:gd name="T58" fmla="*/ 42 w 296"/>
                <a:gd name="T59" fmla="*/ 325 h 481"/>
                <a:gd name="T60" fmla="*/ 47 w 296"/>
                <a:gd name="T61" fmla="*/ 333 h 481"/>
                <a:gd name="T62" fmla="*/ 53 w 296"/>
                <a:gd name="T63" fmla="*/ 353 h 481"/>
                <a:gd name="T64" fmla="*/ 54 w 296"/>
                <a:gd name="T65" fmla="*/ 358 h 481"/>
                <a:gd name="T66" fmla="*/ 60 w 296"/>
                <a:gd name="T67" fmla="*/ 372 h 481"/>
                <a:gd name="T68" fmla="*/ 65 w 296"/>
                <a:gd name="T69" fmla="*/ 380 h 481"/>
                <a:gd name="T70" fmla="*/ 62 w 296"/>
                <a:gd name="T71" fmla="*/ 405 h 481"/>
                <a:gd name="T72" fmla="*/ 61 w 296"/>
                <a:gd name="T73" fmla="*/ 411 h 481"/>
                <a:gd name="T74" fmla="*/ 57 w 296"/>
                <a:gd name="T75" fmla="*/ 437 h 481"/>
                <a:gd name="T76" fmla="*/ 60 w 296"/>
                <a:gd name="T77" fmla="*/ 444 h 481"/>
                <a:gd name="T78" fmla="*/ 60 w 296"/>
                <a:gd name="T79" fmla="*/ 445 h 481"/>
                <a:gd name="T80" fmla="*/ 61 w 296"/>
                <a:gd name="T81" fmla="*/ 446 h 481"/>
                <a:gd name="T82" fmla="*/ 62 w 296"/>
                <a:gd name="T83" fmla="*/ 447 h 481"/>
                <a:gd name="T84" fmla="*/ 156 w 296"/>
                <a:gd name="T85" fmla="*/ 480 h 481"/>
                <a:gd name="T86" fmla="*/ 159 w 296"/>
                <a:gd name="T87" fmla="*/ 481 h 481"/>
                <a:gd name="T88" fmla="*/ 286 w 296"/>
                <a:gd name="T89" fmla="*/ 106 h 481"/>
                <a:gd name="T90" fmla="*/ 280 w 296"/>
                <a:gd name="T91" fmla="*/ 109 h 481"/>
                <a:gd name="T92" fmla="*/ 276 w 296"/>
                <a:gd name="T93" fmla="*/ 110 h 481"/>
                <a:gd name="T94" fmla="*/ 272 w 296"/>
                <a:gd name="T95" fmla="*/ 113 h 481"/>
                <a:gd name="T96" fmla="*/ 263 w 296"/>
                <a:gd name="T97" fmla="*/ 119 h 481"/>
                <a:gd name="T98" fmla="*/ 261 w 296"/>
                <a:gd name="T99" fmla="*/ 116 h 481"/>
                <a:gd name="T100" fmla="*/ 267 w 296"/>
                <a:gd name="T101" fmla="*/ 11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6" h="481">
                  <a:moveTo>
                    <a:pt x="267" y="110"/>
                  </a:moveTo>
                  <a:cubicBezTo>
                    <a:pt x="269" y="109"/>
                    <a:pt x="270" y="109"/>
                    <a:pt x="272" y="108"/>
                  </a:cubicBezTo>
                  <a:cubicBezTo>
                    <a:pt x="274" y="107"/>
                    <a:pt x="276" y="106"/>
                    <a:pt x="278" y="106"/>
                  </a:cubicBezTo>
                  <a:cubicBezTo>
                    <a:pt x="281" y="105"/>
                    <a:pt x="283" y="105"/>
                    <a:pt x="285" y="104"/>
                  </a:cubicBezTo>
                  <a:cubicBezTo>
                    <a:pt x="287" y="103"/>
                    <a:pt x="287" y="103"/>
                    <a:pt x="287" y="103"/>
                  </a:cubicBezTo>
                  <a:cubicBezTo>
                    <a:pt x="296" y="76"/>
                    <a:pt x="296" y="76"/>
                    <a:pt x="296" y="76"/>
                  </a:cubicBezTo>
                  <a:cubicBezTo>
                    <a:pt x="293" y="75"/>
                    <a:pt x="293" y="75"/>
                    <a:pt x="293" y="75"/>
                  </a:cubicBezTo>
                  <a:cubicBezTo>
                    <a:pt x="234" y="55"/>
                    <a:pt x="176" y="31"/>
                    <a:pt x="120" y="1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16" y="3"/>
                    <a:pt x="116" y="3"/>
                    <a:pt x="116" y="3"/>
                  </a:cubicBezTo>
                  <a:cubicBezTo>
                    <a:pt x="110" y="14"/>
                    <a:pt x="104" y="26"/>
                    <a:pt x="99" y="37"/>
                  </a:cubicBezTo>
                  <a:cubicBezTo>
                    <a:pt x="97" y="40"/>
                    <a:pt x="97" y="40"/>
                    <a:pt x="97" y="40"/>
                  </a:cubicBezTo>
                  <a:cubicBezTo>
                    <a:pt x="92" y="50"/>
                    <a:pt x="88" y="59"/>
                    <a:pt x="83" y="69"/>
                  </a:cubicBezTo>
                  <a:cubicBezTo>
                    <a:pt x="76" y="83"/>
                    <a:pt x="69" y="97"/>
                    <a:pt x="62" y="110"/>
                  </a:cubicBezTo>
                  <a:cubicBezTo>
                    <a:pt x="50" y="135"/>
                    <a:pt x="38" y="160"/>
                    <a:pt x="24" y="184"/>
                  </a:cubicBezTo>
                  <a:cubicBezTo>
                    <a:pt x="23" y="186"/>
                    <a:pt x="22" y="188"/>
                    <a:pt x="20" y="191"/>
                  </a:cubicBezTo>
                  <a:cubicBezTo>
                    <a:pt x="10" y="207"/>
                    <a:pt x="0" y="226"/>
                    <a:pt x="5" y="235"/>
                  </a:cubicBezTo>
                  <a:cubicBezTo>
                    <a:pt x="6" y="238"/>
                    <a:pt x="8" y="238"/>
                    <a:pt x="10" y="239"/>
                  </a:cubicBezTo>
                  <a:cubicBezTo>
                    <a:pt x="11" y="240"/>
                    <a:pt x="12" y="240"/>
                    <a:pt x="14" y="241"/>
                  </a:cubicBezTo>
                  <a:cubicBezTo>
                    <a:pt x="20" y="246"/>
                    <a:pt x="21" y="255"/>
                    <a:pt x="22" y="263"/>
                  </a:cubicBezTo>
                  <a:cubicBezTo>
                    <a:pt x="23" y="266"/>
                    <a:pt x="23" y="266"/>
                    <a:pt x="23" y="266"/>
                  </a:cubicBezTo>
                  <a:cubicBezTo>
                    <a:pt x="23" y="268"/>
                    <a:pt x="23" y="270"/>
                    <a:pt x="23" y="272"/>
                  </a:cubicBezTo>
                  <a:cubicBezTo>
                    <a:pt x="23" y="275"/>
                    <a:pt x="23" y="277"/>
                    <a:pt x="23" y="280"/>
                  </a:cubicBezTo>
                  <a:cubicBezTo>
                    <a:pt x="24" y="283"/>
                    <a:pt x="25" y="284"/>
                    <a:pt x="25" y="284"/>
                  </a:cubicBezTo>
                  <a:cubicBezTo>
                    <a:pt x="29" y="287"/>
                    <a:pt x="29" y="287"/>
                    <a:pt x="29" y="287"/>
                  </a:cubicBezTo>
                  <a:cubicBezTo>
                    <a:pt x="29" y="285"/>
                    <a:pt x="29" y="285"/>
                    <a:pt x="29" y="285"/>
                  </a:cubicBezTo>
                  <a:cubicBezTo>
                    <a:pt x="30" y="286"/>
                    <a:pt x="31" y="286"/>
                    <a:pt x="33" y="287"/>
                  </a:cubicBezTo>
                  <a:cubicBezTo>
                    <a:pt x="39" y="291"/>
                    <a:pt x="38" y="302"/>
                    <a:pt x="38" y="310"/>
                  </a:cubicBezTo>
                  <a:cubicBezTo>
                    <a:pt x="38" y="312"/>
                    <a:pt x="38" y="312"/>
                    <a:pt x="38" y="312"/>
                  </a:cubicBezTo>
                  <a:cubicBezTo>
                    <a:pt x="37" y="320"/>
                    <a:pt x="39" y="322"/>
                    <a:pt x="42" y="325"/>
                  </a:cubicBezTo>
                  <a:cubicBezTo>
                    <a:pt x="44" y="327"/>
                    <a:pt x="45" y="329"/>
                    <a:pt x="47" y="333"/>
                  </a:cubicBezTo>
                  <a:cubicBezTo>
                    <a:pt x="50" y="338"/>
                    <a:pt x="52" y="346"/>
                    <a:pt x="53" y="353"/>
                  </a:cubicBezTo>
                  <a:cubicBezTo>
                    <a:pt x="53" y="355"/>
                    <a:pt x="54" y="356"/>
                    <a:pt x="54" y="358"/>
                  </a:cubicBezTo>
                  <a:cubicBezTo>
                    <a:pt x="55" y="364"/>
                    <a:pt x="58" y="368"/>
                    <a:pt x="60" y="372"/>
                  </a:cubicBezTo>
                  <a:cubicBezTo>
                    <a:pt x="62" y="374"/>
                    <a:pt x="64" y="377"/>
                    <a:pt x="65" y="380"/>
                  </a:cubicBezTo>
                  <a:cubicBezTo>
                    <a:pt x="68" y="388"/>
                    <a:pt x="65" y="398"/>
                    <a:pt x="62" y="405"/>
                  </a:cubicBezTo>
                  <a:cubicBezTo>
                    <a:pt x="62" y="407"/>
                    <a:pt x="61" y="411"/>
                    <a:pt x="61" y="411"/>
                  </a:cubicBezTo>
                  <a:cubicBezTo>
                    <a:pt x="58" y="419"/>
                    <a:pt x="55" y="427"/>
                    <a:pt x="57" y="437"/>
                  </a:cubicBezTo>
                  <a:cubicBezTo>
                    <a:pt x="58" y="439"/>
                    <a:pt x="59" y="441"/>
                    <a:pt x="60" y="444"/>
                  </a:cubicBezTo>
                  <a:cubicBezTo>
                    <a:pt x="60" y="445"/>
                    <a:pt x="60" y="445"/>
                    <a:pt x="60" y="445"/>
                  </a:cubicBezTo>
                  <a:cubicBezTo>
                    <a:pt x="61" y="446"/>
                    <a:pt x="61" y="446"/>
                    <a:pt x="61" y="446"/>
                  </a:cubicBezTo>
                  <a:cubicBezTo>
                    <a:pt x="62" y="447"/>
                    <a:pt x="62" y="447"/>
                    <a:pt x="62" y="447"/>
                  </a:cubicBezTo>
                  <a:cubicBezTo>
                    <a:pt x="91" y="458"/>
                    <a:pt x="123" y="469"/>
                    <a:pt x="156" y="480"/>
                  </a:cubicBezTo>
                  <a:cubicBezTo>
                    <a:pt x="159" y="481"/>
                    <a:pt x="159" y="481"/>
                    <a:pt x="159" y="481"/>
                  </a:cubicBezTo>
                  <a:cubicBezTo>
                    <a:pt x="286" y="106"/>
                    <a:pt x="286" y="106"/>
                    <a:pt x="286" y="106"/>
                  </a:cubicBezTo>
                  <a:cubicBezTo>
                    <a:pt x="280" y="109"/>
                    <a:pt x="280" y="109"/>
                    <a:pt x="280" y="109"/>
                  </a:cubicBezTo>
                  <a:cubicBezTo>
                    <a:pt x="278" y="109"/>
                    <a:pt x="277" y="110"/>
                    <a:pt x="276" y="110"/>
                  </a:cubicBezTo>
                  <a:cubicBezTo>
                    <a:pt x="275" y="111"/>
                    <a:pt x="273" y="112"/>
                    <a:pt x="272" y="113"/>
                  </a:cubicBezTo>
                  <a:cubicBezTo>
                    <a:pt x="269" y="116"/>
                    <a:pt x="265" y="119"/>
                    <a:pt x="263" y="119"/>
                  </a:cubicBezTo>
                  <a:cubicBezTo>
                    <a:pt x="262" y="119"/>
                    <a:pt x="261" y="117"/>
                    <a:pt x="261" y="116"/>
                  </a:cubicBezTo>
                  <a:cubicBezTo>
                    <a:pt x="260" y="113"/>
                    <a:pt x="261" y="112"/>
                    <a:pt x="267" y="110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auto">
            <a:xfrm>
              <a:off x="13323257" y="3594400"/>
              <a:ext cx="1557278" cy="2286548"/>
            </a:xfrm>
            <a:custGeom>
              <a:avLst/>
              <a:gdLst>
                <a:gd name="T0" fmla="*/ 280 w 286"/>
                <a:gd name="T1" fmla="*/ 55 h 461"/>
                <a:gd name="T2" fmla="*/ 278 w 286"/>
                <a:gd name="T3" fmla="*/ 44 h 461"/>
                <a:gd name="T4" fmla="*/ 276 w 286"/>
                <a:gd name="T5" fmla="*/ 28 h 461"/>
                <a:gd name="T6" fmla="*/ 264 w 286"/>
                <a:gd name="T7" fmla="*/ 3 h 461"/>
                <a:gd name="T8" fmla="*/ 261 w 286"/>
                <a:gd name="T9" fmla="*/ 0 h 461"/>
                <a:gd name="T10" fmla="*/ 2 w 286"/>
                <a:gd name="T11" fmla="*/ 252 h 461"/>
                <a:gd name="T12" fmla="*/ 8 w 286"/>
                <a:gd name="T13" fmla="*/ 264 h 461"/>
                <a:gd name="T14" fmla="*/ 18 w 286"/>
                <a:gd name="T15" fmla="*/ 272 h 461"/>
                <a:gd name="T16" fmla="*/ 23 w 286"/>
                <a:gd name="T17" fmla="*/ 276 h 461"/>
                <a:gd name="T18" fmla="*/ 19 w 286"/>
                <a:gd name="T19" fmla="*/ 279 h 461"/>
                <a:gd name="T20" fmla="*/ 19 w 286"/>
                <a:gd name="T21" fmla="*/ 283 h 461"/>
                <a:gd name="T22" fmla="*/ 250 w 286"/>
                <a:gd name="T23" fmla="*/ 461 h 461"/>
                <a:gd name="T24" fmla="*/ 253 w 286"/>
                <a:gd name="T25" fmla="*/ 454 h 461"/>
                <a:gd name="T26" fmla="*/ 253 w 286"/>
                <a:gd name="T27" fmla="*/ 437 h 461"/>
                <a:gd name="T28" fmla="*/ 258 w 286"/>
                <a:gd name="T29" fmla="*/ 425 h 461"/>
                <a:gd name="T30" fmla="*/ 250 w 286"/>
                <a:gd name="T31" fmla="*/ 423 h 461"/>
                <a:gd name="T32" fmla="*/ 243 w 286"/>
                <a:gd name="T33" fmla="*/ 422 h 461"/>
                <a:gd name="T34" fmla="*/ 239 w 286"/>
                <a:gd name="T35" fmla="*/ 417 h 461"/>
                <a:gd name="T36" fmla="*/ 227 w 286"/>
                <a:gd name="T37" fmla="*/ 413 h 461"/>
                <a:gd name="T38" fmla="*/ 226 w 286"/>
                <a:gd name="T39" fmla="*/ 395 h 461"/>
                <a:gd name="T40" fmla="*/ 225 w 286"/>
                <a:gd name="T41" fmla="*/ 379 h 461"/>
                <a:gd name="T42" fmla="*/ 221 w 286"/>
                <a:gd name="T43" fmla="*/ 362 h 461"/>
                <a:gd name="T44" fmla="*/ 216 w 286"/>
                <a:gd name="T45" fmla="*/ 343 h 461"/>
                <a:gd name="T46" fmla="*/ 218 w 286"/>
                <a:gd name="T47" fmla="*/ 331 h 461"/>
                <a:gd name="T48" fmla="*/ 221 w 286"/>
                <a:gd name="T49" fmla="*/ 315 h 461"/>
                <a:gd name="T50" fmla="*/ 227 w 286"/>
                <a:gd name="T51" fmla="*/ 298 h 461"/>
                <a:gd name="T52" fmla="*/ 235 w 286"/>
                <a:gd name="T53" fmla="*/ 279 h 461"/>
                <a:gd name="T54" fmla="*/ 234 w 286"/>
                <a:gd name="T55" fmla="*/ 263 h 461"/>
                <a:gd name="T56" fmla="*/ 235 w 286"/>
                <a:gd name="T57" fmla="*/ 258 h 461"/>
                <a:gd name="T58" fmla="*/ 233 w 286"/>
                <a:gd name="T59" fmla="*/ 244 h 461"/>
                <a:gd name="T60" fmla="*/ 229 w 286"/>
                <a:gd name="T61" fmla="*/ 233 h 461"/>
                <a:gd name="T62" fmla="*/ 238 w 286"/>
                <a:gd name="T63" fmla="*/ 210 h 461"/>
                <a:gd name="T64" fmla="*/ 249 w 286"/>
                <a:gd name="T65" fmla="*/ 184 h 461"/>
                <a:gd name="T66" fmla="*/ 254 w 286"/>
                <a:gd name="T67" fmla="*/ 160 h 461"/>
                <a:gd name="T68" fmla="*/ 264 w 286"/>
                <a:gd name="T69" fmla="*/ 141 h 461"/>
                <a:gd name="T70" fmla="*/ 244 w 286"/>
                <a:gd name="T71" fmla="*/ 130 h 461"/>
                <a:gd name="T72" fmla="*/ 243 w 286"/>
                <a:gd name="T73" fmla="*/ 117 h 461"/>
                <a:gd name="T74" fmla="*/ 255 w 286"/>
                <a:gd name="T75" fmla="*/ 104 h 461"/>
                <a:gd name="T76" fmla="*/ 259 w 286"/>
                <a:gd name="T77" fmla="*/ 91 h 461"/>
                <a:gd name="T78" fmla="*/ 272 w 286"/>
                <a:gd name="T79" fmla="*/ 82 h 461"/>
                <a:gd name="T80" fmla="*/ 282 w 286"/>
                <a:gd name="T81" fmla="*/ 68 h 461"/>
                <a:gd name="T82" fmla="*/ 286 w 286"/>
                <a:gd name="T83" fmla="*/ 62 h 4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6" h="461">
                  <a:moveTo>
                    <a:pt x="283" y="59"/>
                  </a:moveTo>
                  <a:cubicBezTo>
                    <a:pt x="282" y="58"/>
                    <a:pt x="281" y="57"/>
                    <a:pt x="280" y="55"/>
                  </a:cubicBezTo>
                  <a:cubicBezTo>
                    <a:pt x="279" y="54"/>
                    <a:pt x="279" y="52"/>
                    <a:pt x="279" y="50"/>
                  </a:cubicBezTo>
                  <a:cubicBezTo>
                    <a:pt x="279" y="48"/>
                    <a:pt x="279" y="46"/>
                    <a:pt x="278" y="44"/>
                  </a:cubicBezTo>
                  <a:cubicBezTo>
                    <a:pt x="276" y="40"/>
                    <a:pt x="276" y="36"/>
                    <a:pt x="276" y="32"/>
                  </a:cubicBezTo>
                  <a:cubicBezTo>
                    <a:pt x="276" y="31"/>
                    <a:pt x="276" y="29"/>
                    <a:pt x="276" y="28"/>
                  </a:cubicBezTo>
                  <a:cubicBezTo>
                    <a:pt x="277" y="24"/>
                    <a:pt x="277" y="20"/>
                    <a:pt x="274" y="15"/>
                  </a:cubicBezTo>
                  <a:cubicBezTo>
                    <a:pt x="272" y="11"/>
                    <a:pt x="267" y="7"/>
                    <a:pt x="264" y="3"/>
                  </a:cubicBezTo>
                  <a:cubicBezTo>
                    <a:pt x="263" y="3"/>
                    <a:pt x="263" y="3"/>
                    <a:pt x="263" y="3"/>
                  </a:cubicBezTo>
                  <a:cubicBezTo>
                    <a:pt x="261" y="0"/>
                    <a:pt x="261" y="0"/>
                    <a:pt x="261" y="0"/>
                  </a:cubicBezTo>
                  <a:cubicBezTo>
                    <a:pt x="0" y="250"/>
                    <a:pt x="0" y="250"/>
                    <a:pt x="0" y="250"/>
                  </a:cubicBezTo>
                  <a:cubicBezTo>
                    <a:pt x="2" y="252"/>
                    <a:pt x="2" y="252"/>
                    <a:pt x="2" y="252"/>
                  </a:cubicBezTo>
                  <a:cubicBezTo>
                    <a:pt x="2" y="253"/>
                    <a:pt x="3" y="255"/>
                    <a:pt x="4" y="257"/>
                  </a:cubicBezTo>
                  <a:cubicBezTo>
                    <a:pt x="5" y="259"/>
                    <a:pt x="7" y="262"/>
                    <a:pt x="8" y="264"/>
                  </a:cubicBezTo>
                  <a:cubicBezTo>
                    <a:pt x="11" y="268"/>
                    <a:pt x="12" y="269"/>
                    <a:pt x="18" y="271"/>
                  </a:cubicBezTo>
                  <a:cubicBezTo>
                    <a:pt x="18" y="272"/>
                    <a:pt x="18" y="272"/>
                    <a:pt x="18" y="272"/>
                  </a:cubicBezTo>
                  <a:cubicBezTo>
                    <a:pt x="24" y="274"/>
                    <a:pt x="25" y="275"/>
                    <a:pt x="25" y="275"/>
                  </a:cubicBezTo>
                  <a:cubicBezTo>
                    <a:pt x="25" y="275"/>
                    <a:pt x="24" y="275"/>
                    <a:pt x="23" y="276"/>
                  </a:cubicBezTo>
                  <a:cubicBezTo>
                    <a:pt x="22" y="276"/>
                    <a:pt x="21" y="277"/>
                    <a:pt x="20" y="278"/>
                  </a:cubicBezTo>
                  <a:cubicBezTo>
                    <a:pt x="20" y="278"/>
                    <a:pt x="19" y="279"/>
                    <a:pt x="19" y="279"/>
                  </a:cubicBezTo>
                  <a:cubicBezTo>
                    <a:pt x="17" y="281"/>
                    <a:pt x="17" y="281"/>
                    <a:pt x="17" y="281"/>
                  </a:cubicBezTo>
                  <a:cubicBezTo>
                    <a:pt x="19" y="283"/>
                    <a:pt x="19" y="283"/>
                    <a:pt x="19" y="283"/>
                  </a:cubicBezTo>
                  <a:cubicBezTo>
                    <a:pt x="42" y="306"/>
                    <a:pt x="125" y="385"/>
                    <a:pt x="247" y="459"/>
                  </a:cubicBezTo>
                  <a:cubicBezTo>
                    <a:pt x="250" y="461"/>
                    <a:pt x="250" y="461"/>
                    <a:pt x="250" y="461"/>
                  </a:cubicBezTo>
                  <a:cubicBezTo>
                    <a:pt x="251" y="457"/>
                    <a:pt x="251" y="457"/>
                    <a:pt x="251" y="457"/>
                  </a:cubicBezTo>
                  <a:cubicBezTo>
                    <a:pt x="252" y="456"/>
                    <a:pt x="252" y="456"/>
                    <a:pt x="253" y="454"/>
                  </a:cubicBezTo>
                  <a:cubicBezTo>
                    <a:pt x="253" y="451"/>
                    <a:pt x="253" y="449"/>
                    <a:pt x="252" y="447"/>
                  </a:cubicBezTo>
                  <a:cubicBezTo>
                    <a:pt x="252" y="443"/>
                    <a:pt x="251" y="440"/>
                    <a:pt x="253" y="437"/>
                  </a:cubicBezTo>
                  <a:cubicBezTo>
                    <a:pt x="253" y="436"/>
                    <a:pt x="254" y="435"/>
                    <a:pt x="255" y="434"/>
                  </a:cubicBezTo>
                  <a:cubicBezTo>
                    <a:pt x="258" y="431"/>
                    <a:pt x="260" y="428"/>
                    <a:pt x="258" y="425"/>
                  </a:cubicBezTo>
                  <a:cubicBezTo>
                    <a:pt x="256" y="423"/>
                    <a:pt x="253" y="423"/>
                    <a:pt x="252" y="423"/>
                  </a:cubicBezTo>
                  <a:cubicBezTo>
                    <a:pt x="251" y="423"/>
                    <a:pt x="251" y="423"/>
                    <a:pt x="250" y="423"/>
                  </a:cubicBezTo>
                  <a:cubicBezTo>
                    <a:pt x="249" y="423"/>
                    <a:pt x="249" y="423"/>
                    <a:pt x="248" y="423"/>
                  </a:cubicBezTo>
                  <a:cubicBezTo>
                    <a:pt x="246" y="423"/>
                    <a:pt x="244" y="422"/>
                    <a:pt x="243" y="422"/>
                  </a:cubicBezTo>
                  <a:cubicBezTo>
                    <a:pt x="242" y="421"/>
                    <a:pt x="241" y="420"/>
                    <a:pt x="241" y="419"/>
                  </a:cubicBezTo>
                  <a:cubicBezTo>
                    <a:pt x="240" y="419"/>
                    <a:pt x="240" y="418"/>
                    <a:pt x="239" y="417"/>
                  </a:cubicBezTo>
                  <a:cubicBezTo>
                    <a:pt x="237" y="416"/>
                    <a:pt x="235" y="416"/>
                    <a:pt x="233" y="415"/>
                  </a:cubicBezTo>
                  <a:cubicBezTo>
                    <a:pt x="231" y="415"/>
                    <a:pt x="229" y="415"/>
                    <a:pt x="227" y="413"/>
                  </a:cubicBezTo>
                  <a:cubicBezTo>
                    <a:pt x="224" y="411"/>
                    <a:pt x="222" y="408"/>
                    <a:pt x="223" y="403"/>
                  </a:cubicBezTo>
                  <a:cubicBezTo>
                    <a:pt x="223" y="400"/>
                    <a:pt x="224" y="398"/>
                    <a:pt x="226" y="395"/>
                  </a:cubicBezTo>
                  <a:cubicBezTo>
                    <a:pt x="227" y="393"/>
                    <a:pt x="229" y="390"/>
                    <a:pt x="228" y="385"/>
                  </a:cubicBezTo>
                  <a:cubicBezTo>
                    <a:pt x="228" y="383"/>
                    <a:pt x="227" y="381"/>
                    <a:pt x="225" y="379"/>
                  </a:cubicBezTo>
                  <a:cubicBezTo>
                    <a:pt x="224" y="377"/>
                    <a:pt x="223" y="376"/>
                    <a:pt x="222" y="374"/>
                  </a:cubicBezTo>
                  <a:cubicBezTo>
                    <a:pt x="221" y="370"/>
                    <a:pt x="221" y="366"/>
                    <a:pt x="221" y="362"/>
                  </a:cubicBezTo>
                  <a:cubicBezTo>
                    <a:pt x="221" y="357"/>
                    <a:pt x="221" y="351"/>
                    <a:pt x="219" y="346"/>
                  </a:cubicBezTo>
                  <a:cubicBezTo>
                    <a:pt x="218" y="345"/>
                    <a:pt x="217" y="344"/>
                    <a:pt x="216" y="343"/>
                  </a:cubicBezTo>
                  <a:cubicBezTo>
                    <a:pt x="214" y="341"/>
                    <a:pt x="213" y="339"/>
                    <a:pt x="215" y="335"/>
                  </a:cubicBezTo>
                  <a:cubicBezTo>
                    <a:pt x="216" y="333"/>
                    <a:pt x="217" y="332"/>
                    <a:pt x="218" y="331"/>
                  </a:cubicBezTo>
                  <a:cubicBezTo>
                    <a:pt x="220" y="328"/>
                    <a:pt x="222" y="325"/>
                    <a:pt x="221" y="320"/>
                  </a:cubicBezTo>
                  <a:cubicBezTo>
                    <a:pt x="221" y="318"/>
                    <a:pt x="221" y="317"/>
                    <a:pt x="221" y="315"/>
                  </a:cubicBezTo>
                  <a:cubicBezTo>
                    <a:pt x="220" y="311"/>
                    <a:pt x="220" y="307"/>
                    <a:pt x="222" y="304"/>
                  </a:cubicBezTo>
                  <a:cubicBezTo>
                    <a:pt x="223" y="301"/>
                    <a:pt x="225" y="299"/>
                    <a:pt x="227" y="298"/>
                  </a:cubicBezTo>
                  <a:cubicBezTo>
                    <a:pt x="230" y="295"/>
                    <a:pt x="233" y="293"/>
                    <a:pt x="234" y="289"/>
                  </a:cubicBezTo>
                  <a:cubicBezTo>
                    <a:pt x="236" y="285"/>
                    <a:pt x="235" y="282"/>
                    <a:pt x="235" y="279"/>
                  </a:cubicBezTo>
                  <a:cubicBezTo>
                    <a:pt x="235" y="279"/>
                    <a:pt x="234" y="277"/>
                    <a:pt x="234" y="277"/>
                  </a:cubicBezTo>
                  <a:cubicBezTo>
                    <a:pt x="234" y="272"/>
                    <a:pt x="234" y="267"/>
                    <a:pt x="234" y="263"/>
                  </a:cubicBezTo>
                  <a:cubicBezTo>
                    <a:pt x="235" y="261"/>
                    <a:pt x="235" y="261"/>
                    <a:pt x="235" y="261"/>
                  </a:cubicBezTo>
                  <a:cubicBezTo>
                    <a:pt x="235" y="260"/>
                    <a:pt x="235" y="259"/>
                    <a:pt x="235" y="258"/>
                  </a:cubicBezTo>
                  <a:cubicBezTo>
                    <a:pt x="236" y="253"/>
                    <a:pt x="236" y="250"/>
                    <a:pt x="235" y="247"/>
                  </a:cubicBezTo>
                  <a:cubicBezTo>
                    <a:pt x="234" y="246"/>
                    <a:pt x="233" y="245"/>
                    <a:pt x="233" y="244"/>
                  </a:cubicBezTo>
                  <a:cubicBezTo>
                    <a:pt x="231" y="241"/>
                    <a:pt x="230" y="239"/>
                    <a:pt x="229" y="235"/>
                  </a:cubicBezTo>
                  <a:cubicBezTo>
                    <a:pt x="229" y="233"/>
                    <a:pt x="229" y="233"/>
                    <a:pt x="229" y="233"/>
                  </a:cubicBezTo>
                  <a:cubicBezTo>
                    <a:pt x="229" y="225"/>
                    <a:pt x="228" y="217"/>
                    <a:pt x="236" y="212"/>
                  </a:cubicBezTo>
                  <a:cubicBezTo>
                    <a:pt x="238" y="210"/>
                    <a:pt x="238" y="210"/>
                    <a:pt x="238" y="210"/>
                  </a:cubicBezTo>
                  <a:cubicBezTo>
                    <a:pt x="244" y="206"/>
                    <a:pt x="251" y="201"/>
                    <a:pt x="254" y="195"/>
                  </a:cubicBezTo>
                  <a:cubicBezTo>
                    <a:pt x="257" y="189"/>
                    <a:pt x="253" y="187"/>
                    <a:pt x="249" y="184"/>
                  </a:cubicBezTo>
                  <a:cubicBezTo>
                    <a:pt x="247" y="182"/>
                    <a:pt x="245" y="180"/>
                    <a:pt x="243" y="178"/>
                  </a:cubicBezTo>
                  <a:cubicBezTo>
                    <a:pt x="241" y="173"/>
                    <a:pt x="246" y="167"/>
                    <a:pt x="254" y="160"/>
                  </a:cubicBezTo>
                  <a:cubicBezTo>
                    <a:pt x="258" y="157"/>
                    <a:pt x="262" y="154"/>
                    <a:pt x="263" y="151"/>
                  </a:cubicBezTo>
                  <a:cubicBezTo>
                    <a:pt x="265" y="147"/>
                    <a:pt x="265" y="144"/>
                    <a:pt x="264" y="141"/>
                  </a:cubicBezTo>
                  <a:cubicBezTo>
                    <a:pt x="263" y="138"/>
                    <a:pt x="258" y="136"/>
                    <a:pt x="254" y="135"/>
                  </a:cubicBezTo>
                  <a:cubicBezTo>
                    <a:pt x="250" y="134"/>
                    <a:pt x="246" y="132"/>
                    <a:pt x="244" y="130"/>
                  </a:cubicBezTo>
                  <a:cubicBezTo>
                    <a:pt x="241" y="128"/>
                    <a:pt x="240" y="125"/>
                    <a:pt x="240" y="123"/>
                  </a:cubicBezTo>
                  <a:cubicBezTo>
                    <a:pt x="240" y="121"/>
                    <a:pt x="241" y="118"/>
                    <a:pt x="243" y="117"/>
                  </a:cubicBezTo>
                  <a:cubicBezTo>
                    <a:pt x="244" y="116"/>
                    <a:pt x="244" y="116"/>
                    <a:pt x="244" y="116"/>
                  </a:cubicBezTo>
                  <a:cubicBezTo>
                    <a:pt x="248" y="112"/>
                    <a:pt x="252" y="109"/>
                    <a:pt x="255" y="104"/>
                  </a:cubicBezTo>
                  <a:cubicBezTo>
                    <a:pt x="256" y="102"/>
                    <a:pt x="257" y="100"/>
                    <a:pt x="257" y="98"/>
                  </a:cubicBezTo>
                  <a:cubicBezTo>
                    <a:pt x="258" y="95"/>
                    <a:pt x="258" y="93"/>
                    <a:pt x="259" y="91"/>
                  </a:cubicBezTo>
                  <a:cubicBezTo>
                    <a:pt x="261" y="88"/>
                    <a:pt x="264" y="87"/>
                    <a:pt x="267" y="85"/>
                  </a:cubicBezTo>
                  <a:cubicBezTo>
                    <a:pt x="269" y="84"/>
                    <a:pt x="271" y="83"/>
                    <a:pt x="272" y="82"/>
                  </a:cubicBezTo>
                  <a:cubicBezTo>
                    <a:pt x="275" y="80"/>
                    <a:pt x="276" y="77"/>
                    <a:pt x="278" y="73"/>
                  </a:cubicBezTo>
                  <a:cubicBezTo>
                    <a:pt x="280" y="72"/>
                    <a:pt x="281" y="70"/>
                    <a:pt x="282" y="68"/>
                  </a:cubicBezTo>
                  <a:cubicBezTo>
                    <a:pt x="283" y="67"/>
                    <a:pt x="284" y="65"/>
                    <a:pt x="285" y="64"/>
                  </a:cubicBezTo>
                  <a:cubicBezTo>
                    <a:pt x="286" y="62"/>
                    <a:pt x="286" y="62"/>
                    <a:pt x="286" y="62"/>
                  </a:cubicBezTo>
                  <a:lnTo>
                    <a:pt x="283" y="59"/>
                  </a:ln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4" name="Freeform 53"/>
            <p:cNvSpPr>
              <a:spLocks noEditPoints="1"/>
            </p:cNvSpPr>
            <p:nvPr/>
          </p:nvSpPr>
          <p:spPr bwMode="auto">
            <a:xfrm>
              <a:off x="15274470" y="6446519"/>
              <a:ext cx="1547019" cy="2292148"/>
            </a:xfrm>
            <a:custGeom>
              <a:avLst/>
              <a:gdLst>
                <a:gd name="T0" fmla="*/ 281 w 284"/>
                <a:gd name="T1" fmla="*/ 36 h 462"/>
                <a:gd name="T2" fmla="*/ 140 w 284"/>
                <a:gd name="T3" fmla="*/ 1 h 462"/>
                <a:gd name="T4" fmla="*/ 137 w 284"/>
                <a:gd name="T5" fmla="*/ 0 h 462"/>
                <a:gd name="T6" fmla="*/ 128 w 284"/>
                <a:gd name="T7" fmla="*/ 27 h 462"/>
                <a:gd name="T8" fmla="*/ 136 w 284"/>
                <a:gd name="T9" fmla="*/ 21 h 462"/>
                <a:gd name="T10" fmla="*/ 140 w 284"/>
                <a:gd name="T11" fmla="*/ 19 h 462"/>
                <a:gd name="T12" fmla="*/ 141 w 284"/>
                <a:gd name="T13" fmla="*/ 19 h 462"/>
                <a:gd name="T14" fmla="*/ 145 w 284"/>
                <a:gd name="T15" fmla="*/ 24 h 462"/>
                <a:gd name="T16" fmla="*/ 152 w 284"/>
                <a:gd name="T17" fmla="*/ 31 h 462"/>
                <a:gd name="T18" fmla="*/ 158 w 284"/>
                <a:gd name="T19" fmla="*/ 32 h 462"/>
                <a:gd name="T20" fmla="*/ 166 w 284"/>
                <a:gd name="T21" fmla="*/ 34 h 462"/>
                <a:gd name="T22" fmla="*/ 165 w 284"/>
                <a:gd name="T23" fmla="*/ 34 h 462"/>
                <a:gd name="T24" fmla="*/ 158 w 284"/>
                <a:gd name="T25" fmla="*/ 36 h 462"/>
                <a:gd name="T26" fmla="*/ 155 w 284"/>
                <a:gd name="T27" fmla="*/ 36 h 462"/>
                <a:gd name="T28" fmla="*/ 145 w 284"/>
                <a:gd name="T29" fmla="*/ 34 h 462"/>
                <a:gd name="T30" fmla="*/ 130 w 284"/>
                <a:gd name="T31" fmla="*/ 31 h 462"/>
                <a:gd name="T32" fmla="*/ 129 w 284"/>
                <a:gd name="T33" fmla="*/ 31 h 462"/>
                <a:gd name="T34" fmla="*/ 127 w 284"/>
                <a:gd name="T35" fmla="*/ 31 h 462"/>
                <a:gd name="T36" fmla="*/ 0 w 284"/>
                <a:gd name="T37" fmla="*/ 405 h 462"/>
                <a:gd name="T38" fmla="*/ 3 w 284"/>
                <a:gd name="T39" fmla="*/ 406 h 462"/>
                <a:gd name="T40" fmla="*/ 127 w 284"/>
                <a:gd name="T41" fmla="*/ 442 h 462"/>
                <a:gd name="T42" fmla="*/ 177 w 284"/>
                <a:gd name="T43" fmla="*/ 454 h 462"/>
                <a:gd name="T44" fmla="*/ 184 w 284"/>
                <a:gd name="T45" fmla="*/ 455 h 462"/>
                <a:gd name="T46" fmla="*/ 217 w 284"/>
                <a:gd name="T47" fmla="*/ 461 h 462"/>
                <a:gd name="T48" fmla="*/ 220 w 284"/>
                <a:gd name="T49" fmla="*/ 462 h 462"/>
                <a:gd name="T50" fmla="*/ 221 w 284"/>
                <a:gd name="T51" fmla="*/ 459 h 462"/>
                <a:gd name="T52" fmla="*/ 267 w 284"/>
                <a:gd name="T53" fmla="*/ 144 h 462"/>
                <a:gd name="T54" fmla="*/ 261 w 284"/>
                <a:gd name="T55" fmla="*/ 143 h 462"/>
                <a:gd name="T56" fmla="*/ 261 w 284"/>
                <a:gd name="T57" fmla="*/ 145 h 462"/>
                <a:gd name="T58" fmla="*/ 257 w 284"/>
                <a:gd name="T59" fmla="*/ 150 h 462"/>
                <a:gd name="T60" fmla="*/ 255 w 284"/>
                <a:gd name="T61" fmla="*/ 151 h 462"/>
                <a:gd name="T62" fmla="*/ 253 w 284"/>
                <a:gd name="T63" fmla="*/ 154 h 462"/>
                <a:gd name="T64" fmla="*/ 253 w 284"/>
                <a:gd name="T65" fmla="*/ 148 h 462"/>
                <a:gd name="T66" fmla="*/ 252 w 284"/>
                <a:gd name="T67" fmla="*/ 145 h 462"/>
                <a:gd name="T68" fmla="*/ 252 w 284"/>
                <a:gd name="T69" fmla="*/ 144 h 462"/>
                <a:gd name="T70" fmla="*/ 251 w 284"/>
                <a:gd name="T71" fmla="*/ 143 h 462"/>
                <a:gd name="T72" fmla="*/ 251 w 284"/>
                <a:gd name="T73" fmla="*/ 142 h 462"/>
                <a:gd name="T74" fmla="*/ 251 w 284"/>
                <a:gd name="T75" fmla="*/ 140 h 462"/>
                <a:gd name="T76" fmla="*/ 250 w 284"/>
                <a:gd name="T77" fmla="*/ 136 h 462"/>
                <a:gd name="T78" fmla="*/ 249 w 284"/>
                <a:gd name="T79" fmla="*/ 135 h 462"/>
                <a:gd name="T80" fmla="*/ 257 w 284"/>
                <a:gd name="T81" fmla="*/ 125 h 462"/>
                <a:gd name="T82" fmla="*/ 258 w 284"/>
                <a:gd name="T83" fmla="*/ 123 h 462"/>
                <a:gd name="T84" fmla="*/ 260 w 284"/>
                <a:gd name="T85" fmla="*/ 121 h 462"/>
                <a:gd name="T86" fmla="*/ 269 w 284"/>
                <a:gd name="T87" fmla="*/ 114 h 462"/>
                <a:gd name="T88" fmla="*/ 272 w 284"/>
                <a:gd name="T89" fmla="*/ 113 h 462"/>
                <a:gd name="T90" fmla="*/ 272 w 284"/>
                <a:gd name="T91" fmla="*/ 111 h 462"/>
                <a:gd name="T92" fmla="*/ 284 w 284"/>
                <a:gd name="T93" fmla="*/ 39 h 462"/>
                <a:gd name="T94" fmla="*/ 284 w 284"/>
                <a:gd name="T95" fmla="*/ 36 h 462"/>
                <a:gd name="T96" fmla="*/ 281 w 284"/>
                <a:gd name="T97" fmla="*/ 36 h 462"/>
                <a:gd name="T98" fmla="*/ 233 w 284"/>
                <a:gd name="T99" fmla="*/ 166 h 462"/>
                <a:gd name="T100" fmla="*/ 237 w 284"/>
                <a:gd name="T101" fmla="*/ 160 h 462"/>
                <a:gd name="T102" fmla="*/ 239 w 284"/>
                <a:gd name="T103" fmla="*/ 164 h 462"/>
                <a:gd name="T104" fmla="*/ 238 w 284"/>
                <a:gd name="T105" fmla="*/ 165 h 462"/>
                <a:gd name="T106" fmla="*/ 233 w 284"/>
                <a:gd name="T107" fmla="*/ 167 h 462"/>
                <a:gd name="T108" fmla="*/ 233 w 284"/>
                <a:gd name="T109" fmla="*/ 167 h 462"/>
                <a:gd name="T110" fmla="*/ 233 w 284"/>
                <a:gd name="T111" fmla="*/ 166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84" h="462">
                  <a:moveTo>
                    <a:pt x="281" y="36"/>
                  </a:moveTo>
                  <a:cubicBezTo>
                    <a:pt x="267" y="34"/>
                    <a:pt x="214" y="25"/>
                    <a:pt x="140" y="1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28" y="27"/>
                    <a:pt x="128" y="27"/>
                    <a:pt x="128" y="27"/>
                  </a:cubicBezTo>
                  <a:cubicBezTo>
                    <a:pt x="136" y="21"/>
                    <a:pt x="136" y="21"/>
                    <a:pt x="136" y="21"/>
                  </a:cubicBezTo>
                  <a:cubicBezTo>
                    <a:pt x="137" y="20"/>
                    <a:pt x="139" y="19"/>
                    <a:pt x="140" y="19"/>
                  </a:cubicBezTo>
                  <a:cubicBezTo>
                    <a:pt x="140" y="19"/>
                    <a:pt x="141" y="19"/>
                    <a:pt x="141" y="19"/>
                  </a:cubicBezTo>
                  <a:cubicBezTo>
                    <a:pt x="143" y="20"/>
                    <a:pt x="144" y="22"/>
                    <a:pt x="145" y="24"/>
                  </a:cubicBezTo>
                  <a:cubicBezTo>
                    <a:pt x="147" y="26"/>
                    <a:pt x="149" y="29"/>
                    <a:pt x="152" y="31"/>
                  </a:cubicBezTo>
                  <a:cubicBezTo>
                    <a:pt x="154" y="32"/>
                    <a:pt x="156" y="32"/>
                    <a:pt x="158" y="32"/>
                  </a:cubicBezTo>
                  <a:cubicBezTo>
                    <a:pt x="163" y="32"/>
                    <a:pt x="165" y="33"/>
                    <a:pt x="166" y="34"/>
                  </a:cubicBezTo>
                  <a:cubicBezTo>
                    <a:pt x="166" y="34"/>
                    <a:pt x="166" y="34"/>
                    <a:pt x="165" y="34"/>
                  </a:cubicBezTo>
                  <a:cubicBezTo>
                    <a:pt x="165" y="35"/>
                    <a:pt x="162" y="36"/>
                    <a:pt x="158" y="36"/>
                  </a:cubicBezTo>
                  <a:cubicBezTo>
                    <a:pt x="156" y="36"/>
                    <a:pt x="155" y="36"/>
                    <a:pt x="155" y="36"/>
                  </a:cubicBezTo>
                  <a:cubicBezTo>
                    <a:pt x="152" y="36"/>
                    <a:pt x="148" y="35"/>
                    <a:pt x="145" y="34"/>
                  </a:cubicBezTo>
                  <a:cubicBezTo>
                    <a:pt x="140" y="32"/>
                    <a:pt x="135" y="31"/>
                    <a:pt x="130" y="31"/>
                  </a:cubicBezTo>
                  <a:cubicBezTo>
                    <a:pt x="129" y="31"/>
                    <a:pt x="129" y="31"/>
                    <a:pt x="129" y="31"/>
                  </a:cubicBezTo>
                  <a:cubicBezTo>
                    <a:pt x="127" y="31"/>
                    <a:pt x="127" y="31"/>
                    <a:pt x="127" y="31"/>
                  </a:cubicBezTo>
                  <a:cubicBezTo>
                    <a:pt x="0" y="405"/>
                    <a:pt x="0" y="405"/>
                    <a:pt x="0" y="405"/>
                  </a:cubicBezTo>
                  <a:cubicBezTo>
                    <a:pt x="3" y="406"/>
                    <a:pt x="3" y="406"/>
                    <a:pt x="3" y="406"/>
                  </a:cubicBezTo>
                  <a:cubicBezTo>
                    <a:pt x="42" y="418"/>
                    <a:pt x="83" y="430"/>
                    <a:pt x="127" y="442"/>
                  </a:cubicBezTo>
                  <a:cubicBezTo>
                    <a:pt x="143" y="447"/>
                    <a:pt x="160" y="450"/>
                    <a:pt x="177" y="454"/>
                  </a:cubicBezTo>
                  <a:cubicBezTo>
                    <a:pt x="184" y="455"/>
                    <a:pt x="184" y="455"/>
                    <a:pt x="184" y="455"/>
                  </a:cubicBezTo>
                  <a:cubicBezTo>
                    <a:pt x="194" y="457"/>
                    <a:pt x="205" y="459"/>
                    <a:pt x="217" y="461"/>
                  </a:cubicBezTo>
                  <a:cubicBezTo>
                    <a:pt x="220" y="462"/>
                    <a:pt x="220" y="462"/>
                    <a:pt x="220" y="462"/>
                  </a:cubicBezTo>
                  <a:cubicBezTo>
                    <a:pt x="221" y="459"/>
                    <a:pt x="221" y="459"/>
                    <a:pt x="221" y="459"/>
                  </a:cubicBezTo>
                  <a:cubicBezTo>
                    <a:pt x="226" y="419"/>
                    <a:pt x="247" y="277"/>
                    <a:pt x="267" y="144"/>
                  </a:cubicBezTo>
                  <a:cubicBezTo>
                    <a:pt x="261" y="143"/>
                    <a:pt x="261" y="143"/>
                    <a:pt x="261" y="143"/>
                  </a:cubicBezTo>
                  <a:cubicBezTo>
                    <a:pt x="261" y="143"/>
                    <a:pt x="261" y="144"/>
                    <a:pt x="261" y="145"/>
                  </a:cubicBezTo>
                  <a:cubicBezTo>
                    <a:pt x="260" y="147"/>
                    <a:pt x="258" y="148"/>
                    <a:pt x="257" y="150"/>
                  </a:cubicBezTo>
                  <a:cubicBezTo>
                    <a:pt x="256" y="150"/>
                    <a:pt x="256" y="151"/>
                    <a:pt x="255" y="151"/>
                  </a:cubicBezTo>
                  <a:cubicBezTo>
                    <a:pt x="254" y="152"/>
                    <a:pt x="253" y="153"/>
                    <a:pt x="253" y="154"/>
                  </a:cubicBezTo>
                  <a:cubicBezTo>
                    <a:pt x="253" y="152"/>
                    <a:pt x="253" y="150"/>
                    <a:pt x="253" y="148"/>
                  </a:cubicBezTo>
                  <a:cubicBezTo>
                    <a:pt x="253" y="147"/>
                    <a:pt x="252" y="146"/>
                    <a:pt x="252" y="145"/>
                  </a:cubicBezTo>
                  <a:cubicBezTo>
                    <a:pt x="252" y="144"/>
                    <a:pt x="252" y="144"/>
                    <a:pt x="252" y="144"/>
                  </a:cubicBezTo>
                  <a:cubicBezTo>
                    <a:pt x="251" y="143"/>
                    <a:pt x="251" y="143"/>
                    <a:pt x="251" y="143"/>
                  </a:cubicBezTo>
                  <a:cubicBezTo>
                    <a:pt x="251" y="142"/>
                    <a:pt x="251" y="142"/>
                    <a:pt x="251" y="142"/>
                  </a:cubicBezTo>
                  <a:cubicBezTo>
                    <a:pt x="251" y="141"/>
                    <a:pt x="251" y="141"/>
                    <a:pt x="251" y="140"/>
                  </a:cubicBezTo>
                  <a:cubicBezTo>
                    <a:pt x="251" y="138"/>
                    <a:pt x="250" y="137"/>
                    <a:pt x="250" y="136"/>
                  </a:cubicBezTo>
                  <a:cubicBezTo>
                    <a:pt x="250" y="136"/>
                    <a:pt x="250" y="135"/>
                    <a:pt x="249" y="135"/>
                  </a:cubicBezTo>
                  <a:cubicBezTo>
                    <a:pt x="248" y="132"/>
                    <a:pt x="254" y="127"/>
                    <a:pt x="257" y="125"/>
                  </a:cubicBezTo>
                  <a:cubicBezTo>
                    <a:pt x="258" y="123"/>
                    <a:pt x="258" y="123"/>
                    <a:pt x="258" y="123"/>
                  </a:cubicBezTo>
                  <a:cubicBezTo>
                    <a:pt x="258" y="123"/>
                    <a:pt x="259" y="122"/>
                    <a:pt x="260" y="121"/>
                  </a:cubicBezTo>
                  <a:cubicBezTo>
                    <a:pt x="262" y="119"/>
                    <a:pt x="267" y="114"/>
                    <a:pt x="269" y="114"/>
                  </a:cubicBezTo>
                  <a:cubicBezTo>
                    <a:pt x="272" y="113"/>
                    <a:pt x="272" y="113"/>
                    <a:pt x="272" y="113"/>
                  </a:cubicBezTo>
                  <a:cubicBezTo>
                    <a:pt x="272" y="111"/>
                    <a:pt x="272" y="111"/>
                    <a:pt x="272" y="111"/>
                  </a:cubicBezTo>
                  <a:cubicBezTo>
                    <a:pt x="276" y="86"/>
                    <a:pt x="280" y="62"/>
                    <a:pt x="284" y="39"/>
                  </a:cubicBezTo>
                  <a:cubicBezTo>
                    <a:pt x="284" y="36"/>
                    <a:pt x="284" y="36"/>
                    <a:pt x="284" y="36"/>
                  </a:cubicBezTo>
                  <a:lnTo>
                    <a:pt x="281" y="36"/>
                  </a:lnTo>
                  <a:close/>
                  <a:moveTo>
                    <a:pt x="233" y="166"/>
                  </a:moveTo>
                  <a:cubicBezTo>
                    <a:pt x="233" y="164"/>
                    <a:pt x="235" y="161"/>
                    <a:pt x="237" y="160"/>
                  </a:cubicBezTo>
                  <a:cubicBezTo>
                    <a:pt x="237" y="161"/>
                    <a:pt x="237" y="163"/>
                    <a:pt x="239" y="164"/>
                  </a:cubicBezTo>
                  <a:cubicBezTo>
                    <a:pt x="238" y="164"/>
                    <a:pt x="238" y="165"/>
                    <a:pt x="238" y="165"/>
                  </a:cubicBezTo>
                  <a:cubicBezTo>
                    <a:pt x="236" y="166"/>
                    <a:pt x="235" y="167"/>
                    <a:pt x="233" y="167"/>
                  </a:cubicBezTo>
                  <a:cubicBezTo>
                    <a:pt x="233" y="167"/>
                    <a:pt x="233" y="167"/>
                    <a:pt x="233" y="167"/>
                  </a:cubicBezTo>
                  <a:cubicBezTo>
                    <a:pt x="233" y="167"/>
                    <a:pt x="233" y="167"/>
                    <a:pt x="233" y="166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5" name="Freeform 54"/>
            <p:cNvSpPr>
              <a:spLocks noEditPoints="1"/>
            </p:cNvSpPr>
            <p:nvPr/>
          </p:nvSpPr>
          <p:spPr bwMode="auto">
            <a:xfrm>
              <a:off x="13152961" y="4988728"/>
              <a:ext cx="1891713" cy="3292629"/>
            </a:xfrm>
            <a:custGeom>
              <a:avLst/>
              <a:gdLst>
                <a:gd name="T0" fmla="*/ 281 w 347"/>
                <a:gd name="T1" fmla="*/ 180 h 664"/>
                <a:gd name="T2" fmla="*/ 48 w 347"/>
                <a:gd name="T3" fmla="*/ 37 h 664"/>
                <a:gd name="T4" fmla="*/ 56 w 347"/>
                <a:gd name="T5" fmla="*/ 60 h 664"/>
                <a:gd name="T6" fmla="*/ 94 w 347"/>
                <a:gd name="T7" fmla="*/ 61 h 664"/>
                <a:gd name="T8" fmla="*/ 90 w 347"/>
                <a:gd name="T9" fmla="*/ 86 h 664"/>
                <a:gd name="T10" fmla="*/ 83 w 347"/>
                <a:gd name="T11" fmla="*/ 161 h 664"/>
                <a:gd name="T12" fmla="*/ 76 w 347"/>
                <a:gd name="T13" fmla="*/ 193 h 664"/>
                <a:gd name="T14" fmla="*/ 79 w 347"/>
                <a:gd name="T15" fmla="*/ 207 h 664"/>
                <a:gd name="T16" fmla="*/ 91 w 347"/>
                <a:gd name="T17" fmla="*/ 235 h 664"/>
                <a:gd name="T18" fmla="*/ 77 w 347"/>
                <a:gd name="T19" fmla="*/ 268 h 664"/>
                <a:gd name="T20" fmla="*/ 63 w 347"/>
                <a:gd name="T21" fmla="*/ 276 h 664"/>
                <a:gd name="T22" fmla="*/ 56 w 347"/>
                <a:gd name="T23" fmla="*/ 282 h 664"/>
                <a:gd name="T24" fmla="*/ 40 w 347"/>
                <a:gd name="T25" fmla="*/ 293 h 664"/>
                <a:gd name="T26" fmla="*/ 31 w 347"/>
                <a:gd name="T27" fmla="*/ 295 h 664"/>
                <a:gd name="T28" fmla="*/ 36 w 347"/>
                <a:gd name="T29" fmla="*/ 311 h 664"/>
                <a:gd name="T30" fmla="*/ 28 w 347"/>
                <a:gd name="T31" fmla="*/ 327 h 664"/>
                <a:gd name="T32" fmla="*/ 40 w 347"/>
                <a:gd name="T33" fmla="*/ 337 h 664"/>
                <a:gd name="T34" fmla="*/ 60 w 347"/>
                <a:gd name="T35" fmla="*/ 330 h 664"/>
                <a:gd name="T36" fmla="*/ 52 w 347"/>
                <a:gd name="T37" fmla="*/ 338 h 664"/>
                <a:gd name="T38" fmla="*/ 31 w 347"/>
                <a:gd name="T39" fmla="*/ 352 h 664"/>
                <a:gd name="T40" fmla="*/ 39 w 347"/>
                <a:gd name="T41" fmla="*/ 365 h 664"/>
                <a:gd name="T42" fmla="*/ 46 w 347"/>
                <a:gd name="T43" fmla="*/ 369 h 664"/>
                <a:gd name="T44" fmla="*/ 45 w 347"/>
                <a:gd name="T45" fmla="*/ 382 h 664"/>
                <a:gd name="T46" fmla="*/ 41 w 347"/>
                <a:gd name="T47" fmla="*/ 390 h 664"/>
                <a:gd name="T48" fmla="*/ 26 w 347"/>
                <a:gd name="T49" fmla="*/ 405 h 664"/>
                <a:gd name="T50" fmla="*/ 34 w 347"/>
                <a:gd name="T51" fmla="*/ 418 h 664"/>
                <a:gd name="T52" fmla="*/ 26 w 347"/>
                <a:gd name="T53" fmla="*/ 433 h 664"/>
                <a:gd name="T54" fmla="*/ 38 w 347"/>
                <a:gd name="T55" fmla="*/ 450 h 664"/>
                <a:gd name="T56" fmla="*/ 33 w 347"/>
                <a:gd name="T57" fmla="*/ 454 h 664"/>
                <a:gd name="T58" fmla="*/ 9 w 347"/>
                <a:gd name="T59" fmla="*/ 427 h 664"/>
                <a:gd name="T60" fmla="*/ 6 w 347"/>
                <a:gd name="T61" fmla="*/ 448 h 664"/>
                <a:gd name="T62" fmla="*/ 8 w 347"/>
                <a:gd name="T63" fmla="*/ 465 h 664"/>
                <a:gd name="T64" fmla="*/ 10 w 347"/>
                <a:gd name="T65" fmla="*/ 479 h 664"/>
                <a:gd name="T66" fmla="*/ 14 w 347"/>
                <a:gd name="T67" fmla="*/ 494 h 664"/>
                <a:gd name="T68" fmla="*/ 26 w 347"/>
                <a:gd name="T69" fmla="*/ 516 h 664"/>
                <a:gd name="T70" fmla="*/ 30 w 347"/>
                <a:gd name="T71" fmla="*/ 536 h 664"/>
                <a:gd name="T72" fmla="*/ 33 w 347"/>
                <a:gd name="T73" fmla="*/ 539 h 664"/>
                <a:gd name="T74" fmla="*/ 46 w 347"/>
                <a:gd name="T75" fmla="*/ 575 h 664"/>
                <a:gd name="T76" fmla="*/ 70 w 347"/>
                <a:gd name="T77" fmla="*/ 560 h 664"/>
                <a:gd name="T78" fmla="*/ 59 w 347"/>
                <a:gd name="T79" fmla="*/ 486 h 664"/>
                <a:gd name="T80" fmla="*/ 64 w 347"/>
                <a:gd name="T81" fmla="*/ 487 h 664"/>
                <a:gd name="T82" fmla="*/ 59 w 347"/>
                <a:gd name="T83" fmla="*/ 502 h 664"/>
                <a:gd name="T84" fmla="*/ 62 w 347"/>
                <a:gd name="T85" fmla="*/ 512 h 664"/>
                <a:gd name="T86" fmla="*/ 70 w 347"/>
                <a:gd name="T87" fmla="*/ 534 h 664"/>
                <a:gd name="T88" fmla="*/ 83 w 347"/>
                <a:gd name="T89" fmla="*/ 545 h 664"/>
                <a:gd name="T90" fmla="*/ 284 w 347"/>
                <a:gd name="T91" fmla="*/ 662 h 664"/>
                <a:gd name="T92" fmla="*/ 295 w 347"/>
                <a:gd name="T93" fmla="*/ 599 h 664"/>
                <a:gd name="T94" fmla="*/ 268 w 347"/>
                <a:gd name="T95" fmla="*/ 530 h 664"/>
                <a:gd name="T96" fmla="*/ 252 w 347"/>
                <a:gd name="T97" fmla="*/ 484 h 664"/>
                <a:gd name="T98" fmla="*/ 254 w 347"/>
                <a:gd name="T99" fmla="*/ 402 h 664"/>
                <a:gd name="T100" fmla="*/ 346 w 347"/>
                <a:gd name="T101" fmla="*/ 220 h 664"/>
                <a:gd name="T102" fmla="*/ 70 w 347"/>
                <a:gd name="T103" fmla="*/ 500 h 664"/>
                <a:gd name="T104" fmla="*/ 47 w 347"/>
                <a:gd name="T105" fmla="*/ 465 h 664"/>
                <a:gd name="T106" fmla="*/ 45 w 347"/>
                <a:gd name="T107" fmla="*/ 465 h 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47" h="664">
                  <a:moveTo>
                    <a:pt x="345" y="216"/>
                  </a:moveTo>
                  <a:cubicBezTo>
                    <a:pt x="324" y="205"/>
                    <a:pt x="303" y="193"/>
                    <a:pt x="282" y="181"/>
                  </a:cubicBezTo>
                  <a:cubicBezTo>
                    <a:pt x="282" y="181"/>
                    <a:pt x="282" y="181"/>
                    <a:pt x="282" y="181"/>
                  </a:cubicBezTo>
                  <a:cubicBezTo>
                    <a:pt x="282" y="181"/>
                    <a:pt x="282" y="181"/>
                    <a:pt x="282" y="181"/>
                  </a:cubicBezTo>
                  <a:cubicBezTo>
                    <a:pt x="281" y="180"/>
                    <a:pt x="281" y="180"/>
                    <a:pt x="281" y="180"/>
                  </a:cubicBezTo>
                  <a:cubicBezTo>
                    <a:pt x="281" y="180"/>
                    <a:pt x="281" y="180"/>
                    <a:pt x="281" y="180"/>
                  </a:cubicBezTo>
                  <a:cubicBezTo>
                    <a:pt x="160" y="107"/>
                    <a:pt x="75" y="27"/>
                    <a:pt x="52" y="4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6" y="11"/>
                    <a:pt x="47" y="17"/>
                    <a:pt x="47" y="23"/>
                  </a:cubicBezTo>
                  <a:cubicBezTo>
                    <a:pt x="48" y="26"/>
                    <a:pt x="48" y="30"/>
                    <a:pt x="48" y="32"/>
                  </a:cubicBezTo>
                  <a:cubicBezTo>
                    <a:pt x="48" y="34"/>
                    <a:pt x="48" y="35"/>
                    <a:pt x="48" y="37"/>
                  </a:cubicBezTo>
                  <a:cubicBezTo>
                    <a:pt x="48" y="40"/>
                    <a:pt x="48" y="43"/>
                    <a:pt x="48" y="45"/>
                  </a:cubicBezTo>
                  <a:cubicBezTo>
                    <a:pt x="48" y="46"/>
                    <a:pt x="47" y="47"/>
                    <a:pt x="47" y="48"/>
                  </a:cubicBezTo>
                  <a:cubicBezTo>
                    <a:pt x="46" y="51"/>
                    <a:pt x="43" y="57"/>
                    <a:pt x="48" y="60"/>
                  </a:cubicBezTo>
                  <a:cubicBezTo>
                    <a:pt x="49" y="61"/>
                    <a:pt x="50" y="61"/>
                    <a:pt x="51" y="61"/>
                  </a:cubicBezTo>
                  <a:cubicBezTo>
                    <a:pt x="52" y="61"/>
                    <a:pt x="54" y="61"/>
                    <a:pt x="55" y="61"/>
                  </a:cubicBezTo>
                  <a:cubicBezTo>
                    <a:pt x="55" y="60"/>
                    <a:pt x="56" y="60"/>
                    <a:pt x="56" y="60"/>
                  </a:cubicBezTo>
                  <a:cubicBezTo>
                    <a:pt x="58" y="60"/>
                    <a:pt x="60" y="61"/>
                    <a:pt x="62" y="62"/>
                  </a:cubicBezTo>
                  <a:cubicBezTo>
                    <a:pt x="64" y="62"/>
                    <a:pt x="66" y="63"/>
                    <a:pt x="67" y="63"/>
                  </a:cubicBezTo>
                  <a:cubicBezTo>
                    <a:pt x="70" y="63"/>
                    <a:pt x="72" y="61"/>
                    <a:pt x="75" y="59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8" y="57"/>
                    <a:pt x="81" y="56"/>
                    <a:pt x="85" y="56"/>
                  </a:cubicBezTo>
                  <a:cubicBezTo>
                    <a:pt x="87" y="56"/>
                    <a:pt x="93" y="56"/>
                    <a:pt x="94" y="61"/>
                  </a:cubicBezTo>
                  <a:cubicBezTo>
                    <a:pt x="95" y="64"/>
                    <a:pt x="93" y="68"/>
                    <a:pt x="91" y="72"/>
                  </a:cubicBezTo>
                  <a:cubicBezTo>
                    <a:pt x="91" y="72"/>
                    <a:pt x="91" y="73"/>
                    <a:pt x="91" y="73"/>
                  </a:cubicBezTo>
                  <a:cubicBezTo>
                    <a:pt x="90" y="74"/>
                    <a:pt x="89" y="75"/>
                    <a:pt x="89" y="77"/>
                  </a:cubicBezTo>
                  <a:cubicBezTo>
                    <a:pt x="89" y="79"/>
                    <a:pt x="89" y="80"/>
                    <a:pt x="89" y="82"/>
                  </a:cubicBezTo>
                  <a:cubicBezTo>
                    <a:pt x="89" y="82"/>
                    <a:pt x="89" y="83"/>
                    <a:pt x="89" y="83"/>
                  </a:cubicBezTo>
                  <a:cubicBezTo>
                    <a:pt x="90" y="86"/>
                    <a:pt x="90" y="86"/>
                    <a:pt x="90" y="86"/>
                  </a:cubicBezTo>
                  <a:cubicBezTo>
                    <a:pt x="90" y="87"/>
                    <a:pt x="90" y="89"/>
                    <a:pt x="90" y="90"/>
                  </a:cubicBezTo>
                  <a:cubicBezTo>
                    <a:pt x="90" y="92"/>
                    <a:pt x="90" y="94"/>
                    <a:pt x="90" y="97"/>
                  </a:cubicBezTo>
                  <a:cubicBezTo>
                    <a:pt x="89" y="100"/>
                    <a:pt x="89" y="103"/>
                    <a:pt x="89" y="106"/>
                  </a:cubicBezTo>
                  <a:cubicBezTo>
                    <a:pt x="90" y="111"/>
                    <a:pt x="90" y="117"/>
                    <a:pt x="90" y="122"/>
                  </a:cubicBezTo>
                  <a:cubicBezTo>
                    <a:pt x="90" y="131"/>
                    <a:pt x="88" y="142"/>
                    <a:pt x="85" y="152"/>
                  </a:cubicBezTo>
                  <a:cubicBezTo>
                    <a:pt x="84" y="155"/>
                    <a:pt x="83" y="158"/>
                    <a:pt x="83" y="161"/>
                  </a:cubicBezTo>
                  <a:cubicBezTo>
                    <a:pt x="82" y="164"/>
                    <a:pt x="81" y="167"/>
                    <a:pt x="81" y="170"/>
                  </a:cubicBezTo>
                  <a:cubicBezTo>
                    <a:pt x="80" y="171"/>
                    <a:pt x="80" y="172"/>
                    <a:pt x="80" y="173"/>
                  </a:cubicBezTo>
                  <a:cubicBezTo>
                    <a:pt x="80" y="174"/>
                    <a:pt x="79" y="176"/>
                    <a:pt x="79" y="178"/>
                  </a:cubicBezTo>
                  <a:cubicBezTo>
                    <a:pt x="78" y="179"/>
                    <a:pt x="78" y="179"/>
                    <a:pt x="78" y="179"/>
                  </a:cubicBezTo>
                  <a:cubicBezTo>
                    <a:pt x="78" y="180"/>
                    <a:pt x="77" y="182"/>
                    <a:pt x="77" y="184"/>
                  </a:cubicBezTo>
                  <a:cubicBezTo>
                    <a:pt x="76" y="187"/>
                    <a:pt x="76" y="189"/>
                    <a:pt x="76" y="193"/>
                  </a:cubicBezTo>
                  <a:cubicBezTo>
                    <a:pt x="76" y="194"/>
                    <a:pt x="76" y="195"/>
                    <a:pt x="76" y="196"/>
                  </a:cubicBezTo>
                  <a:cubicBezTo>
                    <a:pt x="76" y="196"/>
                    <a:pt x="76" y="197"/>
                    <a:pt x="76" y="197"/>
                  </a:cubicBezTo>
                  <a:cubicBezTo>
                    <a:pt x="76" y="198"/>
                    <a:pt x="76" y="198"/>
                    <a:pt x="76" y="199"/>
                  </a:cubicBezTo>
                  <a:cubicBezTo>
                    <a:pt x="76" y="200"/>
                    <a:pt x="76" y="201"/>
                    <a:pt x="77" y="202"/>
                  </a:cubicBezTo>
                  <a:cubicBezTo>
                    <a:pt x="77" y="204"/>
                    <a:pt x="77" y="205"/>
                    <a:pt x="78" y="205"/>
                  </a:cubicBezTo>
                  <a:cubicBezTo>
                    <a:pt x="78" y="206"/>
                    <a:pt x="78" y="206"/>
                    <a:pt x="79" y="207"/>
                  </a:cubicBezTo>
                  <a:cubicBezTo>
                    <a:pt x="80" y="211"/>
                    <a:pt x="83" y="215"/>
                    <a:pt x="85" y="218"/>
                  </a:cubicBezTo>
                  <a:cubicBezTo>
                    <a:pt x="86" y="219"/>
                    <a:pt x="87" y="221"/>
                    <a:pt x="87" y="222"/>
                  </a:cubicBezTo>
                  <a:cubicBezTo>
                    <a:pt x="87" y="223"/>
                    <a:pt x="87" y="223"/>
                    <a:pt x="87" y="224"/>
                  </a:cubicBezTo>
                  <a:cubicBezTo>
                    <a:pt x="87" y="226"/>
                    <a:pt x="87" y="227"/>
                    <a:pt x="88" y="229"/>
                  </a:cubicBezTo>
                  <a:cubicBezTo>
                    <a:pt x="89" y="230"/>
                    <a:pt x="89" y="230"/>
                    <a:pt x="89" y="231"/>
                  </a:cubicBezTo>
                  <a:cubicBezTo>
                    <a:pt x="90" y="232"/>
                    <a:pt x="91" y="234"/>
                    <a:pt x="91" y="235"/>
                  </a:cubicBezTo>
                  <a:cubicBezTo>
                    <a:pt x="92" y="240"/>
                    <a:pt x="92" y="247"/>
                    <a:pt x="88" y="249"/>
                  </a:cubicBezTo>
                  <a:cubicBezTo>
                    <a:pt x="88" y="250"/>
                    <a:pt x="87" y="250"/>
                    <a:pt x="87" y="250"/>
                  </a:cubicBezTo>
                  <a:cubicBezTo>
                    <a:pt x="84" y="252"/>
                    <a:pt x="81" y="254"/>
                    <a:pt x="81" y="259"/>
                  </a:cubicBezTo>
                  <a:cubicBezTo>
                    <a:pt x="81" y="260"/>
                    <a:pt x="81" y="261"/>
                    <a:pt x="81" y="262"/>
                  </a:cubicBezTo>
                  <a:cubicBezTo>
                    <a:pt x="81" y="263"/>
                    <a:pt x="81" y="265"/>
                    <a:pt x="81" y="266"/>
                  </a:cubicBezTo>
                  <a:cubicBezTo>
                    <a:pt x="80" y="267"/>
                    <a:pt x="79" y="267"/>
                    <a:pt x="77" y="268"/>
                  </a:cubicBezTo>
                  <a:cubicBezTo>
                    <a:pt x="77" y="269"/>
                    <a:pt x="76" y="269"/>
                    <a:pt x="75" y="270"/>
                  </a:cubicBezTo>
                  <a:cubicBezTo>
                    <a:pt x="74" y="271"/>
                    <a:pt x="73" y="271"/>
                    <a:pt x="73" y="272"/>
                  </a:cubicBezTo>
                  <a:cubicBezTo>
                    <a:pt x="72" y="273"/>
                    <a:pt x="72" y="273"/>
                    <a:pt x="72" y="273"/>
                  </a:cubicBezTo>
                  <a:cubicBezTo>
                    <a:pt x="71" y="273"/>
                    <a:pt x="70" y="273"/>
                    <a:pt x="69" y="274"/>
                  </a:cubicBezTo>
                  <a:cubicBezTo>
                    <a:pt x="69" y="274"/>
                    <a:pt x="69" y="274"/>
                    <a:pt x="69" y="274"/>
                  </a:cubicBezTo>
                  <a:cubicBezTo>
                    <a:pt x="66" y="274"/>
                    <a:pt x="64" y="275"/>
                    <a:pt x="63" y="276"/>
                  </a:cubicBezTo>
                  <a:cubicBezTo>
                    <a:pt x="61" y="276"/>
                    <a:pt x="60" y="277"/>
                    <a:pt x="59" y="279"/>
                  </a:cubicBezTo>
                  <a:cubicBezTo>
                    <a:pt x="59" y="280"/>
                    <a:pt x="59" y="280"/>
                    <a:pt x="59" y="281"/>
                  </a:cubicBezTo>
                  <a:cubicBezTo>
                    <a:pt x="59" y="281"/>
                    <a:pt x="58" y="282"/>
                    <a:pt x="58" y="282"/>
                  </a:cubicBezTo>
                  <a:cubicBezTo>
                    <a:pt x="58" y="282"/>
                    <a:pt x="58" y="282"/>
                    <a:pt x="58" y="282"/>
                  </a:cubicBezTo>
                  <a:cubicBezTo>
                    <a:pt x="58" y="282"/>
                    <a:pt x="58" y="282"/>
                    <a:pt x="58" y="282"/>
                  </a:cubicBezTo>
                  <a:cubicBezTo>
                    <a:pt x="57" y="282"/>
                    <a:pt x="57" y="282"/>
                    <a:pt x="56" y="282"/>
                  </a:cubicBezTo>
                  <a:cubicBezTo>
                    <a:pt x="55" y="281"/>
                    <a:pt x="53" y="280"/>
                    <a:pt x="51" y="280"/>
                  </a:cubicBezTo>
                  <a:cubicBezTo>
                    <a:pt x="50" y="280"/>
                    <a:pt x="49" y="280"/>
                    <a:pt x="48" y="281"/>
                  </a:cubicBezTo>
                  <a:cubicBezTo>
                    <a:pt x="43" y="284"/>
                    <a:pt x="44" y="290"/>
                    <a:pt x="45" y="295"/>
                  </a:cubicBezTo>
                  <a:cubicBezTo>
                    <a:pt x="45" y="295"/>
                    <a:pt x="45" y="296"/>
                    <a:pt x="45" y="296"/>
                  </a:cubicBezTo>
                  <a:cubicBezTo>
                    <a:pt x="45" y="296"/>
                    <a:pt x="45" y="295"/>
                    <a:pt x="45" y="295"/>
                  </a:cubicBezTo>
                  <a:cubicBezTo>
                    <a:pt x="43" y="293"/>
                    <a:pt x="41" y="293"/>
                    <a:pt x="40" y="293"/>
                  </a:cubicBezTo>
                  <a:cubicBezTo>
                    <a:pt x="40" y="293"/>
                    <a:pt x="40" y="293"/>
                    <a:pt x="39" y="293"/>
                  </a:cubicBezTo>
                  <a:cubicBezTo>
                    <a:pt x="39" y="293"/>
                    <a:pt x="39" y="293"/>
                    <a:pt x="39" y="292"/>
                  </a:cubicBezTo>
                  <a:cubicBezTo>
                    <a:pt x="38" y="292"/>
                    <a:pt x="37" y="292"/>
                    <a:pt x="35" y="292"/>
                  </a:cubicBezTo>
                  <a:cubicBezTo>
                    <a:pt x="35" y="292"/>
                    <a:pt x="35" y="292"/>
                    <a:pt x="35" y="292"/>
                  </a:cubicBezTo>
                  <a:cubicBezTo>
                    <a:pt x="34" y="292"/>
                    <a:pt x="34" y="292"/>
                    <a:pt x="34" y="292"/>
                  </a:cubicBezTo>
                  <a:cubicBezTo>
                    <a:pt x="33" y="292"/>
                    <a:pt x="31" y="293"/>
                    <a:pt x="31" y="295"/>
                  </a:cubicBezTo>
                  <a:cubicBezTo>
                    <a:pt x="30" y="296"/>
                    <a:pt x="29" y="298"/>
                    <a:pt x="30" y="300"/>
                  </a:cubicBezTo>
                  <a:cubicBezTo>
                    <a:pt x="31" y="302"/>
                    <a:pt x="32" y="303"/>
                    <a:pt x="33" y="303"/>
                  </a:cubicBezTo>
                  <a:cubicBezTo>
                    <a:pt x="34" y="303"/>
                    <a:pt x="34" y="303"/>
                    <a:pt x="34" y="303"/>
                  </a:cubicBezTo>
                  <a:cubicBezTo>
                    <a:pt x="34" y="304"/>
                    <a:pt x="34" y="306"/>
                    <a:pt x="36" y="307"/>
                  </a:cubicBezTo>
                  <a:cubicBezTo>
                    <a:pt x="36" y="307"/>
                    <a:pt x="37" y="307"/>
                    <a:pt x="37" y="307"/>
                  </a:cubicBezTo>
                  <a:cubicBezTo>
                    <a:pt x="37" y="309"/>
                    <a:pt x="37" y="310"/>
                    <a:pt x="36" y="311"/>
                  </a:cubicBezTo>
                  <a:cubicBezTo>
                    <a:pt x="36" y="311"/>
                    <a:pt x="36" y="311"/>
                    <a:pt x="36" y="311"/>
                  </a:cubicBezTo>
                  <a:cubicBezTo>
                    <a:pt x="35" y="308"/>
                    <a:pt x="32" y="308"/>
                    <a:pt x="31" y="308"/>
                  </a:cubicBezTo>
                  <a:cubicBezTo>
                    <a:pt x="28" y="308"/>
                    <a:pt x="26" y="311"/>
                    <a:pt x="25" y="314"/>
                  </a:cubicBezTo>
                  <a:cubicBezTo>
                    <a:pt x="25" y="317"/>
                    <a:pt x="26" y="319"/>
                    <a:pt x="27" y="322"/>
                  </a:cubicBezTo>
                  <a:cubicBezTo>
                    <a:pt x="27" y="323"/>
                    <a:pt x="28" y="324"/>
                    <a:pt x="28" y="325"/>
                  </a:cubicBezTo>
                  <a:cubicBezTo>
                    <a:pt x="28" y="326"/>
                    <a:pt x="28" y="326"/>
                    <a:pt x="28" y="327"/>
                  </a:cubicBezTo>
                  <a:cubicBezTo>
                    <a:pt x="27" y="330"/>
                    <a:pt x="27" y="334"/>
                    <a:pt x="29" y="336"/>
                  </a:cubicBezTo>
                  <a:cubicBezTo>
                    <a:pt x="30" y="337"/>
                    <a:pt x="31" y="337"/>
                    <a:pt x="33" y="337"/>
                  </a:cubicBezTo>
                  <a:cubicBezTo>
                    <a:pt x="33" y="337"/>
                    <a:pt x="33" y="337"/>
                    <a:pt x="33" y="337"/>
                  </a:cubicBezTo>
                  <a:cubicBezTo>
                    <a:pt x="33" y="337"/>
                    <a:pt x="33" y="337"/>
                    <a:pt x="34" y="337"/>
                  </a:cubicBezTo>
                  <a:cubicBezTo>
                    <a:pt x="35" y="337"/>
                    <a:pt x="36" y="336"/>
                    <a:pt x="37" y="336"/>
                  </a:cubicBezTo>
                  <a:cubicBezTo>
                    <a:pt x="38" y="337"/>
                    <a:pt x="39" y="337"/>
                    <a:pt x="40" y="337"/>
                  </a:cubicBezTo>
                  <a:cubicBezTo>
                    <a:pt x="40" y="337"/>
                    <a:pt x="40" y="337"/>
                    <a:pt x="40" y="337"/>
                  </a:cubicBezTo>
                  <a:cubicBezTo>
                    <a:pt x="42" y="337"/>
                    <a:pt x="44" y="335"/>
                    <a:pt x="45" y="333"/>
                  </a:cubicBezTo>
                  <a:cubicBezTo>
                    <a:pt x="45" y="334"/>
                    <a:pt x="45" y="334"/>
                    <a:pt x="46" y="334"/>
                  </a:cubicBezTo>
                  <a:cubicBezTo>
                    <a:pt x="47" y="335"/>
                    <a:pt x="48" y="335"/>
                    <a:pt x="49" y="335"/>
                  </a:cubicBezTo>
                  <a:cubicBezTo>
                    <a:pt x="53" y="335"/>
                    <a:pt x="55" y="333"/>
                    <a:pt x="57" y="331"/>
                  </a:cubicBezTo>
                  <a:cubicBezTo>
                    <a:pt x="58" y="331"/>
                    <a:pt x="59" y="330"/>
                    <a:pt x="60" y="330"/>
                  </a:cubicBezTo>
                  <a:cubicBezTo>
                    <a:pt x="62" y="328"/>
                    <a:pt x="65" y="327"/>
                    <a:pt x="67" y="327"/>
                  </a:cubicBezTo>
                  <a:cubicBezTo>
                    <a:pt x="67" y="328"/>
                    <a:pt x="65" y="329"/>
                    <a:pt x="63" y="331"/>
                  </a:cubicBezTo>
                  <a:cubicBezTo>
                    <a:pt x="62" y="331"/>
                    <a:pt x="62" y="331"/>
                    <a:pt x="62" y="331"/>
                  </a:cubicBezTo>
                  <a:cubicBezTo>
                    <a:pt x="61" y="332"/>
                    <a:pt x="60" y="332"/>
                    <a:pt x="59" y="332"/>
                  </a:cubicBezTo>
                  <a:cubicBezTo>
                    <a:pt x="57" y="333"/>
                    <a:pt x="55" y="334"/>
                    <a:pt x="54" y="336"/>
                  </a:cubicBezTo>
                  <a:cubicBezTo>
                    <a:pt x="53" y="336"/>
                    <a:pt x="53" y="337"/>
                    <a:pt x="52" y="338"/>
                  </a:cubicBezTo>
                  <a:cubicBezTo>
                    <a:pt x="52" y="338"/>
                    <a:pt x="51" y="338"/>
                    <a:pt x="51" y="338"/>
                  </a:cubicBezTo>
                  <a:cubicBezTo>
                    <a:pt x="48" y="338"/>
                    <a:pt x="46" y="339"/>
                    <a:pt x="44" y="342"/>
                  </a:cubicBezTo>
                  <a:cubicBezTo>
                    <a:pt x="44" y="342"/>
                    <a:pt x="43" y="343"/>
                    <a:pt x="41" y="343"/>
                  </a:cubicBezTo>
                  <a:cubicBezTo>
                    <a:pt x="39" y="344"/>
                    <a:pt x="36" y="346"/>
                    <a:pt x="35" y="350"/>
                  </a:cubicBezTo>
                  <a:cubicBezTo>
                    <a:pt x="35" y="350"/>
                    <a:pt x="35" y="350"/>
                    <a:pt x="35" y="350"/>
                  </a:cubicBezTo>
                  <a:cubicBezTo>
                    <a:pt x="33" y="350"/>
                    <a:pt x="32" y="351"/>
                    <a:pt x="31" y="352"/>
                  </a:cubicBezTo>
                  <a:cubicBezTo>
                    <a:pt x="29" y="354"/>
                    <a:pt x="28" y="357"/>
                    <a:pt x="28" y="359"/>
                  </a:cubicBezTo>
                  <a:cubicBezTo>
                    <a:pt x="28" y="361"/>
                    <a:pt x="28" y="361"/>
                    <a:pt x="28" y="361"/>
                  </a:cubicBezTo>
                  <a:cubicBezTo>
                    <a:pt x="28" y="363"/>
                    <a:pt x="28" y="367"/>
                    <a:pt x="30" y="369"/>
                  </a:cubicBezTo>
                  <a:cubicBezTo>
                    <a:pt x="31" y="369"/>
                    <a:pt x="32" y="370"/>
                    <a:pt x="33" y="370"/>
                  </a:cubicBezTo>
                  <a:cubicBezTo>
                    <a:pt x="33" y="370"/>
                    <a:pt x="33" y="370"/>
                    <a:pt x="33" y="370"/>
                  </a:cubicBezTo>
                  <a:cubicBezTo>
                    <a:pt x="36" y="370"/>
                    <a:pt x="38" y="367"/>
                    <a:pt x="39" y="365"/>
                  </a:cubicBezTo>
                  <a:cubicBezTo>
                    <a:pt x="39" y="365"/>
                    <a:pt x="39" y="365"/>
                    <a:pt x="40" y="365"/>
                  </a:cubicBezTo>
                  <a:cubicBezTo>
                    <a:pt x="40" y="365"/>
                    <a:pt x="41" y="365"/>
                    <a:pt x="42" y="365"/>
                  </a:cubicBezTo>
                  <a:cubicBezTo>
                    <a:pt x="42" y="365"/>
                    <a:pt x="42" y="365"/>
                    <a:pt x="43" y="365"/>
                  </a:cubicBezTo>
                  <a:cubicBezTo>
                    <a:pt x="43" y="365"/>
                    <a:pt x="43" y="365"/>
                    <a:pt x="43" y="365"/>
                  </a:cubicBezTo>
                  <a:cubicBezTo>
                    <a:pt x="43" y="368"/>
                    <a:pt x="44" y="369"/>
                    <a:pt x="46" y="369"/>
                  </a:cubicBezTo>
                  <a:cubicBezTo>
                    <a:pt x="46" y="369"/>
                    <a:pt x="46" y="369"/>
                    <a:pt x="46" y="369"/>
                  </a:cubicBezTo>
                  <a:cubicBezTo>
                    <a:pt x="46" y="369"/>
                    <a:pt x="45" y="370"/>
                    <a:pt x="45" y="370"/>
                  </a:cubicBezTo>
                  <a:cubicBezTo>
                    <a:pt x="45" y="371"/>
                    <a:pt x="44" y="372"/>
                    <a:pt x="44" y="373"/>
                  </a:cubicBezTo>
                  <a:cubicBezTo>
                    <a:pt x="44" y="373"/>
                    <a:pt x="44" y="373"/>
                    <a:pt x="44" y="374"/>
                  </a:cubicBezTo>
                  <a:cubicBezTo>
                    <a:pt x="44" y="374"/>
                    <a:pt x="44" y="374"/>
                    <a:pt x="44" y="374"/>
                  </a:cubicBezTo>
                  <a:cubicBezTo>
                    <a:pt x="44" y="375"/>
                    <a:pt x="43" y="376"/>
                    <a:pt x="43" y="377"/>
                  </a:cubicBezTo>
                  <a:cubicBezTo>
                    <a:pt x="43" y="379"/>
                    <a:pt x="44" y="381"/>
                    <a:pt x="45" y="382"/>
                  </a:cubicBezTo>
                  <a:cubicBezTo>
                    <a:pt x="45" y="382"/>
                    <a:pt x="45" y="382"/>
                    <a:pt x="46" y="383"/>
                  </a:cubicBezTo>
                  <a:cubicBezTo>
                    <a:pt x="46" y="385"/>
                    <a:pt x="48" y="388"/>
                    <a:pt x="47" y="389"/>
                  </a:cubicBezTo>
                  <a:cubicBezTo>
                    <a:pt x="47" y="390"/>
                    <a:pt x="47" y="391"/>
                    <a:pt x="46" y="391"/>
                  </a:cubicBezTo>
                  <a:cubicBezTo>
                    <a:pt x="46" y="390"/>
                    <a:pt x="46" y="390"/>
                    <a:pt x="46" y="390"/>
                  </a:cubicBezTo>
                  <a:cubicBezTo>
                    <a:pt x="43" y="390"/>
                    <a:pt x="43" y="390"/>
                    <a:pt x="43" y="390"/>
                  </a:cubicBezTo>
                  <a:cubicBezTo>
                    <a:pt x="42" y="390"/>
                    <a:pt x="42" y="390"/>
                    <a:pt x="41" y="390"/>
                  </a:cubicBezTo>
                  <a:cubicBezTo>
                    <a:pt x="41" y="390"/>
                    <a:pt x="40" y="390"/>
                    <a:pt x="39" y="390"/>
                  </a:cubicBezTo>
                  <a:cubicBezTo>
                    <a:pt x="38" y="390"/>
                    <a:pt x="37" y="390"/>
                    <a:pt x="37" y="390"/>
                  </a:cubicBezTo>
                  <a:cubicBezTo>
                    <a:pt x="35" y="391"/>
                    <a:pt x="33" y="393"/>
                    <a:pt x="32" y="395"/>
                  </a:cubicBezTo>
                  <a:cubicBezTo>
                    <a:pt x="30" y="397"/>
                    <a:pt x="30" y="399"/>
                    <a:pt x="30" y="400"/>
                  </a:cubicBezTo>
                  <a:cubicBezTo>
                    <a:pt x="30" y="400"/>
                    <a:pt x="31" y="401"/>
                    <a:pt x="31" y="402"/>
                  </a:cubicBezTo>
                  <a:cubicBezTo>
                    <a:pt x="30" y="402"/>
                    <a:pt x="28" y="403"/>
                    <a:pt x="26" y="405"/>
                  </a:cubicBezTo>
                  <a:cubicBezTo>
                    <a:pt x="25" y="407"/>
                    <a:pt x="25" y="408"/>
                    <a:pt x="25" y="409"/>
                  </a:cubicBezTo>
                  <a:cubicBezTo>
                    <a:pt x="25" y="410"/>
                    <a:pt x="25" y="410"/>
                    <a:pt x="25" y="410"/>
                  </a:cubicBezTo>
                  <a:cubicBezTo>
                    <a:pt x="25" y="412"/>
                    <a:pt x="25" y="414"/>
                    <a:pt x="26" y="417"/>
                  </a:cubicBezTo>
                  <a:cubicBezTo>
                    <a:pt x="27" y="418"/>
                    <a:pt x="29" y="419"/>
                    <a:pt x="31" y="419"/>
                  </a:cubicBezTo>
                  <a:cubicBezTo>
                    <a:pt x="31" y="419"/>
                    <a:pt x="32" y="419"/>
                    <a:pt x="32" y="418"/>
                  </a:cubicBezTo>
                  <a:cubicBezTo>
                    <a:pt x="33" y="418"/>
                    <a:pt x="33" y="418"/>
                    <a:pt x="34" y="418"/>
                  </a:cubicBezTo>
                  <a:cubicBezTo>
                    <a:pt x="34" y="419"/>
                    <a:pt x="33" y="419"/>
                    <a:pt x="31" y="420"/>
                  </a:cubicBezTo>
                  <a:cubicBezTo>
                    <a:pt x="30" y="420"/>
                    <a:pt x="30" y="420"/>
                    <a:pt x="30" y="420"/>
                  </a:cubicBezTo>
                  <a:cubicBezTo>
                    <a:pt x="29" y="421"/>
                    <a:pt x="27" y="421"/>
                    <a:pt x="26" y="423"/>
                  </a:cubicBezTo>
                  <a:cubicBezTo>
                    <a:pt x="23" y="426"/>
                    <a:pt x="25" y="429"/>
                    <a:pt x="26" y="431"/>
                  </a:cubicBezTo>
                  <a:cubicBezTo>
                    <a:pt x="26" y="431"/>
                    <a:pt x="27" y="432"/>
                    <a:pt x="27" y="432"/>
                  </a:cubicBezTo>
                  <a:cubicBezTo>
                    <a:pt x="27" y="432"/>
                    <a:pt x="27" y="432"/>
                    <a:pt x="26" y="433"/>
                  </a:cubicBezTo>
                  <a:cubicBezTo>
                    <a:pt x="26" y="433"/>
                    <a:pt x="25" y="435"/>
                    <a:pt x="25" y="437"/>
                  </a:cubicBezTo>
                  <a:cubicBezTo>
                    <a:pt x="26" y="439"/>
                    <a:pt x="27" y="440"/>
                    <a:pt x="27" y="442"/>
                  </a:cubicBezTo>
                  <a:cubicBezTo>
                    <a:pt x="28" y="443"/>
                    <a:pt x="28" y="443"/>
                    <a:pt x="28" y="443"/>
                  </a:cubicBezTo>
                  <a:cubicBezTo>
                    <a:pt x="29" y="445"/>
                    <a:pt x="32" y="446"/>
                    <a:pt x="34" y="447"/>
                  </a:cubicBezTo>
                  <a:cubicBezTo>
                    <a:pt x="35" y="447"/>
                    <a:pt x="35" y="447"/>
                    <a:pt x="35" y="447"/>
                  </a:cubicBezTo>
                  <a:cubicBezTo>
                    <a:pt x="36" y="448"/>
                    <a:pt x="37" y="449"/>
                    <a:pt x="38" y="450"/>
                  </a:cubicBezTo>
                  <a:cubicBezTo>
                    <a:pt x="39" y="451"/>
                    <a:pt x="40" y="452"/>
                    <a:pt x="42" y="453"/>
                  </a:cubicBezTo>
                  <a:cubicBezTo>
                    <a:pt x="43" y="453"/>
                    <a:pt x="44" y="453"/>
                    <a:pt x="45" y="454"/>
                  </a:cubicBezTo>
                  <a:cubicBezTo>
                    <a:pt x="43" y="454"/>
                    <a:pt x="40" y="455"/>
                    <a:pt x="39" y="459"/>
                  </a:cubicBezTo>
                  <a:cubicBezTo>
                    <a:pt x="39" y="460"/>
                    <a:pt x="39" y="460"/>
                    <a:pt x="39" y="460"/>
                  </a:cubicBezTo>
                  <a:cubicBezTo>
                    <a:pt x="39" y="460"/>
                    <a:pt x="39" y="460"/>
                    <a:pt x="39" y="460"/>
                  </a:cubicBezTo>
                  <a:cubicBezTo>
                    <a:pt x="37" y="458"/>
                    <a:pt x="35" y="456"/>
                    <a:pt x="33" y="454"/>
                  </a:cubicBezTo>
                  <a:cubicBezTo>
                    <a:pt x="32" y="452"/>
                    <a:pt x="31" y="450"/>
                    <a:pt x="30" y="448"/>
                  </a:cubicBezTo>
                  <a:cubicBezTo>
                    <a:pt x="30" y="446"/>
                    <a:pt x="29" y="444"/>
                    <a:pt x="27" y="442"/>
                  </a:cubicBezTo>
                  <a:cubicBezTo>
                    <a:pt x="27" y="441"/>
                    <a:pt x="27" y="441"/>
                    <a:pt x="26" y="440"/>
                  </a:cubicBezTo>
                  <a:cubicBezTo>
                    <a:pt x="25" y="437"/>
                    <a:pt x="22" y="434"/>
                    <a:pt x="19" y="432"/>
                  </a:cubicBezTo>
                  <a:cubicBezTo>
                    <a:pt x="19" y="432"/>
                    <a:pt x="18" y="431"/>
                    <a:pt x="18" y="431"/>
                  </a:cubicBezTo>
                  <a:cubicBezTo>
                    <a:pt x="15" y="429"/>
                    <a:pt x="13" y="427"/>
                    <a:pt x="9" y="427"/>
                  </a:cubicBezTo>
                  <a:cubicBezTo>
                    <a:pt x="8" y="427"/>
                    <a:pt x="8" y="427"/>
                    <a:pt x="7" y="427"/>
                  </a:cubicBezTo>
                  <a:cubicBezTo>
                    <a:pt x="6" y="428"/>
                    <a:pt x="4" y="429"/>
                    <a:pt x="2" y="431"/>
                  </a:cubicBezTo>
                  <a:cubicBezTo>
                    <a:pt x="0" y="436"/>
                    <a:pt x="1" y="442"/>
                    <a:pt x="2" y="445"/>
                  </a:cubicBezTo>
                  <a:cubicBezTo>
                    <a:pt x="3" y="446"/>
                    <a:pt x="4" y="447"/>
                    <a:pt x="5" y="448"/>
                  </a:cubicBezTo>
                  <a:cubicBezTo>
                    <a:pt x="5" y="448"/>
                    <a:pt x="6" y="448"/>
                    <a:pt x="6" y="448"/>
                  </a:cubicBezTo>
                  <a:cubicBezTo>
                    <a:pt x="6" y="448"/>
                    <a:pt x="6" y="448"/>
                    <a:pt x="6" y="448"/>
                  </a:cubicBezTo>
                  <a:cubicBezTo>
                    <a:pt x="6" y="448"/>
                    <a:pt x="5" y="450"/>
                    <a:pt x="4" y="450"/>
                  </a:cubicBezTo>
                  <a:cubicBezTo>
                    <a:pt x="4" y="452"/>
                    <a:pt x="3" y="453"/>
                    <a:pt x="2" y="454"/>
                  </a:cubicBezTo>
                  <a:cubicBezTo>
                    <a:pt x="2" y="454"/>
                    <a:pt x="2" y="454"/>
                    <a:pt x="2" y="454"/>
                  </a:cubicBezTo>
                  <a:cubicBezTo>
                    <a:pt x="2" y="457"/>
                    <a:pt x="0" y="460"/>
                    <a:pt x="3" y="463"/>
                  </a:cubicBezTo>
                  <a:cubicBezTo>
                    <a:pt x="3" y="464"/>
                    <a:pt x="5" y="465"/>
                    <a:pt x="7" y="465"/>
                  </a:cubicBezTo>
                  <a:cubicBezTo>
                    <a:pt x="7" y="465"/>
                    <a:pt x="8" y="465"/>
                    <a:pt x="8" y="465"/>
                  </a:cubicBezTo>
                  <a:cubicBezTo>
                    <a:pt x="8" y="465"/>
                    <a:pt x="8" y="465"/>
                    <a:pt x="8" y="465"/>
                  </a:cubicBezTo>
                  <a:cubicBezTo>
                    <a:pt x="8" y="465"/>
                    <a:pt x="8" y="465"/>
                    <a:pt x="9" y="466"/>
                  </a:cubicBezTo>
                  <a:cubicBezTo>
                    <a:pt x="9" y="467"/>
                    <a:pt x="10" y="467"/>
                    <a:pt x="10" y="468"/>
                  </a:cubicBezTo>
                  <a:cubicBezTo>
                    <a:pt x="10" y="469"/>
                    <a:pt x="11" y="469"/>
                    <a:pt x="11" y="470"/>
                  </a:cubicBezTo>
                  <a:cubicBezTo>
                    <a:pt x="11" y="471"/>
                    <a:pt x="11" y="471"/>
                    <a:pt x="10" y="472"/>
                  </a:cubicBezTo>
                  <a:cubicBezTo>
                    <a:pt x="8" y="474"/>
                    <a:pt x="8" y="477"/>
                    <a:pt x="10" y="479"/>
                  </a:cubicBezTo>
                  <a:cubicBezTo>
                    <a:pt x="10" y="480"/>
                    <a:pt x="11" y="480"/>
                    <a:pt x="12" y="481"/>
                  </a:cubicBezTo>
                  <a:cubicBezTo>
                    <a:pt x="12" y="481"/>
                    <a:pt x="12" y="482"/>
                    <a:pt x="12" y="482"/>
                  </a:cubicBezTo>
                  <a:cubicBezTo>
                    <a:pt x="12" y="482"/>
                    <a:pt x="12" y="482"/>
                    <a:pt x="12" y="482"/>
                  </a:cubicBezTo>
                  <a:cubicBezTo>
                    <a:pt x="12" y="482"/>
                    <a:pt x="12" y="483"/>
                    <a:pt x="11" y="483"/>
                  </a:cubicBezTo>
                  <a:cubicBezTo>
                    <a:pt x="10" y="485"/>
                    <a:pt x="8" y="488"/>
                    <a:pt x="10" y="491"/>
                  </a:cubicBezTo>
                  <a:cubicBezTo>
                    <a:pt x="11" y="492"/>
                    <a:pt x="12" y="493"/>
                    <a:pt x="14" y="494"/>
                  </a:cubicBezTo>
                  <a:cubicBezTo>
                    <a:pt x="12" y="496"/>
                    <a:pt x="12" y="500"/>
                    <a:pt x="13" y="501"/>
                  </a:cubicBezTo>
                  <a:cubicBezTo>
                    <a:pt x="14" y="505"/>
                    <a:pt x="17" y="507"/>
                    <a:pt x="20" y="509"/>
                  </a:cubicBezTo>
                  <a:cubicBezTo>
                    <a:pt x="21" y="510"/>
                    <a:pt x="21" y="510"/>
                    <a:pt x="21" y="510"/>
                  </a:cubicBezTo>
                  <a:cubicBezTo>
                    <a:pt x="22" y="511"/>
                    <a:pt x="23" y="511"/>
                    <a:pt x="24" y="513"/>
                  </a:cubicBezTo>
                  <a:cubicBezTo>
                    <a:pt x="24" y="513"/>
                    <a:pt x="25" y="514"/>
                    <a:pt x="25" y="515"/>
                  </a:cubicBezTo>
                  <a:cubicBezTo>
                    <a:pt x="26" y="515"/>
                    <a:pt x="26" y="516"/>
                    <a:pt x="26" y="516"/>
                  </a:cubicBezTo>
                  <a:cubicBezTo>
                    <a:pt x="27" y="516"/>
                    <a:pt x="26" y="517"/>
                    <a:pt x="26" y="518"/>
                  </a:cubicBezTo>
                  <a:cubicBezTo>
                    <a:pt x="25" y="519"/>
                    <a:pt x="25" y="519"/>
                    <a:pt x="24" y="520"/>
                  </a:cubicBezTo>
                  <a:cubicBezTo>
                    <a:pt x="24" y="521"/>
                    <a:pt x="24" y="521"/>
                    <a:pt x="24" y="522"/>
                  </a:cubicBezTo>
                  <a:cubicBezTo>
                    <a:pt x="23" y="523"/>
                    <a:pt x="22" y="525"/>
                    <a:pt x="22" y="527"/>
                  </a:cubicBezTo>
                  <a:cubicBezTo>
                    <a:pt x="22" y="530"/>
                    <a:pt x="25" y="533"/>
                    <a:pt x="27" y="535"/>
                  </a:cubicBezTo>
                  <a:cubicBezTo>
                    <a:pt x="28" y="535"/>
                    <a:pt x="29" y="535"/>
                    <a:pt x="30" y="536"/>
                  </a:cubicBezTo>
                  <a:cubicBezTo>
                    <a:pt x="31" y="536"/>
                    <a:pt x="31" y="536"/>
                    <a:pt x="31" y="536"/>
                  </a:cubicBezTo>
                  <a:cubicBezTo>
                    <a:pt x="31" y="536"/>
                    <a:pt x="32" y="536"/>
                    <a:pt x="32" y="536"/>
                  </a:cubicBezTo>
                  <a:cubicBezTo>
                    <a:pt x="33" y="537"/>
                    <a:pt x="33" y="537"/>
                    <a:pt x="34" y="537"/>
                  </a:cubicBezTo>
                  <a:cubicBezTo>
                    <a:pt x="35" y="537"/>
                    <a:pt x="36" y="538"/>
                    <a:pt x="36" y="538"/>
                  </a:cubicBezTo>
                  <a:cubicBezTo>
                    <a:pt x="37" y="538"/>
                    <a:pt x="37" y="538"/>
                    <a:pt x="37" y="538"/>
                  </a:cubicBezTo>
                  <a:cubicBezTo>
                    <a:pt x="36" y="538"/>
                    <a:pt x="35" y="538"/>
                    <a:pt x="33" y="539"/>
                  </a:cubicBezTo>
                  <a:cubicBezTo>
                    <a:pt x="33" y="539"/>
                    <a:pt x="33" y="539"/>
                    <a:pt x="33" y="539"/>
                  </a:cubicBezTo>
                  <a:cubicBezTo>
                    <a:pt x="31" y="540"/>
                    <a:pt x="28" y="541"/>
                    <a:pt x="29" y="546"/>
                  </a:cubicBezTo>
                  <a:cubicBezTo>
                    <a:pt x="29" y="547"/>
                    <a:pt x="30" y="548"/>
                    <a:pt x="31" y="549"/>
                  </a:cubicBezTo>
                  <a:cubicBezTo>
                    <a:pt x="31" y="550"/>
                    <a:pt x="32" y="550"/>
                    <a:pt x="33" y="550"/>
                  </a:cubicBezTo>
                  <a:cubicBezTo>
                    <a:pt x="34" y="559"/>
                    <a:pt x="39" y="566"/>
                    <a:pt x="44" y="572"/>
                  </a:cubicBezTo>
                  <a:cubicBezTo>
                    <a:pt x="46" y="575"/>
                    <a:pt x="46" y="575"/>
                    <a:pt x="46" y="575"/>
                  </a:cubicBezTo>
                  <a:cubicBezTo>
                    <a:pt x="49" y="579"/>
                    <a:pt x="54" y="583"/>
                    <a:pt x="61" y="583"/>
                  </a:cubicBezTo>
                  <a:cubicBezTo>
                    <a:pt x="61" y="583"/>
                    <a:pt x="62" y="583"/>
                    <a:pt x="62" y="583"/>
                  </a:cubicBezTo>
                  <a:cubicBezTo>
                    <a:pt x="65" y="583"/>
                    <a:pt x="67" y="582"/>
                    <a:pt x="69" y="580"/>
                  </a:cubicBezTo>
                  <a:cubicBezTo>
                    <a:pt x="72" y="575"/>
                    <a:pt x="71" y="570"/>
                    <a:pt x="71" y="565"/>
                  </a:cubicBezTo>
                  <a:cubicBezTo>
                    <a:pt x="71" y="564"/>
                    <a:pt x="71" y="564"/>
                    <a:pt x="71" y="564"/>
                  </a:cubicBezTo>
                  <a:cubicBezTo>
                    <a:pt x="70" y="560"/>
                    <a:pt x="70" y="560"/>
                    <a:pt x="70" y="560"/>
                  </a:cubicBezTo>
                  <a:cubicBezTo>
                    <a:pt x="69" y="551"/>
                    <a:pt x="68" y="542"/>
                    <a:pt x="63" y="533"/>
                  </a:cubicBezTo>
                  <a:cubicBezTo>
                    <a:pt x="58" y="523"/>
                    <a:pt x="58" y="517"/>
                    <a:pt x="58" y="506"/>
                  </a:cubicBezTo>
                  <a:cubicBezTo>
                    <a:pt x="58" y="504"/>
                    <a:pt x="58" y="502"/>
                    <a:pt x="58" y="501"/>
                  </a:cubicBezTo>
                  <a:cubicBezTo>
                    <a:pt x="58" y="498"/>
                    <a:pt x="58" y="496"/>
                    <a:pt x="58" y="495"/>
                  </a:cubicBezTo>
                  <a:cubicBezTo>
                    <a:pt x="59" y="493"/>
                    <a:pt x="59" y="493"/>
                    <a:pt x="59" y="493"/>
                  </a:cubicBezTo>
                  <a:cubicBezTo>
                    <a:pt x="59" y="491"/>
                    <a:pt x="59" y="489"/>
                    <a:pt x="59" y="486"/>
                  </a:cubicBezTo>
                  <a:cubicBezTo>
                    <a:pt x="59" y="484"/>
                    <a:pt x="57" y="482"/>
                    <a:pt x="56" y="481"/>
                  </a:cubicBezTo>
                  <a:cubicBezTo>
                    <a:pt x="56" y="481"/>
                    <a:pt x="56" y="481"/>
                    <a:pt x="56" y="480"/>
                  </a:cubicBezTo>
                  <a:cubicBezTo>
                    <a:pt x="57" y="481"/>
                    <a:pt x="58" y="481"/>
                    <a:pt x="59" y="481"/>
                  </a:cubicBezTo>
                  <a:cubicBezTo>
                    <a:pt x="59" y="481"/>
                    <a:pt x="60" y="481"/>
                    <a:pt x="60" y="481"/>
                  </a:cubicBezTo>
                  <a:cubicBezTo>
                    <a:pt x="61" y="481"/>
                    <a:pt x="61" y="481"/>
                    <a:pt x="62" y="481"/>
                  </a:cubicBezTo>
                  <a:cubicBezTo>
                    <a:pt x="62" y="483"/>
                    <a:pt x="63" y="485"/>
                    <a:pt x="64" y="487"/>
                  </a:cubicBezTo>
                  <a:cubicBezTo>
                    <a:pt x="64" y="487"/>
                    <a:pt x="64" y="487"/>
                    <a:pt x="64" y="487"/>
                  </a:cubicBezTo>
                  <a:cubicBezTo>
                    <a:pt x="62" y="487"/>
                    <a:pt x="61" y="488"/>
                    <a:pt x="60" y="489"/>
                  </a:cubicBezTo>
                  <a:cubicBezTo>
                    <a:pt x="58" y="491"/>
                    <a:pt x="59" y="493"/>
                    <a:pt x="60" y="494"/>
                  </a:cubicBezTo>
                  <a:cubicBezTo>
                    <a:pt x="60" y="495"/>
                    <a:pt x="60" y="495"/>
                    <a:pt x="60" y="495"/>
                  </a:cubicBezTo>
                  <a:cubicBezTo>
                    <a:pt x="60" y="496"/>
                    <a:pt x="60" y="496"/>
                    <a:pt x="60" y="497"/>
                  </a:cubicBezTo>
                  <a:cubicBezTo>
                    <a:pt x="59" y="498"/>
                    <a:pt x="58" y="500"/>
                    <a:pt x="59" y="502"/>
                  </a:cubicBezTo>
                  <a:cubicBezTo>
                    <a:pt x="59" y="504"/>
                    <a:pt x="60" y="504"/>
                    <a:pt x="62" y="505"/>
                  </a:cubicBezTo>
                  <a:cubicBezTo>
                    <a:pt x="62" y="505"/>
                    <a:pt x="62" y="505"/>
                    <a:pt x="63" y="505"/>
                  </a:cubicBezTo>
                  <a:cubicBezTo>
                    <a:pt x="63" y="505"/>
                    <a:pt x="63" y="505"/>
                    <a:pt x="63" y="505"/>
                  </a:cubicBezTo>
                  <a:cubicBezTo>
                    <a:pt x="62" y="507"/>
                    <a:pt x="62" y="509"/>
                    <a:pt x="62" y="510"/>
                  </a:cubicBezTo>
                  <a:cubicBezTo>
                    <a:pt x="62" y="511"/>
                    <a:pt x="62" y="511"/>
                    <a:pt x="62" y="512"/>
                  </a:cubicBezTo>
                  <a:cubicBezTo>
                    <a:pt x="62" y="512"/>
                    <a:pt x="62" y="512"/>
                    <a:pt x="62" y="512"/>
                  </a:cubicBezTo>
                  <a:cubicBezTo>
                    <a:pt x="62" y="515"/>
                    <a:pt x="62" y="516"/>
                    <a:pt x="64" y="519"/>
                  </a:cubicBezTo>
                  <a:cubicBezTo>
                    <a:pt x="64" y="519"/>
                    <a:pt x="64" y="519"/>
                    <a:pt x="64" y="520"/>
                  </a:cubicBezTo>
                  <a:cubicBezTo>
                    <a:pt x="65" y="521"/>
                    <a:pt x="65" y="522"/>
                    <a:pt x="66" y="522"/>
                  </a:cubicBezTo>
                  <a:cubicBezTo>
                    <a:pt x="68" y="524"/>
                    <a:pt x="70" y="524"/>
                    <a:pt x="71" y="524"/>
                  </a:cubicBezTo>
                  <a:cubicBezTo>
                    <a:pt x="71" y="524"/>
                    <a:pt x="71" y="524"/>
                    <a:pt x="72" y="524"/>
                  </a:cubicBezTo>
                  <a:cubicBezTo>
                    <a:pt x="70" y="526"/>
                    <a:pt x="69" y="530"/>
                    <a:pt x="70" y="534"/>
                  </a:cubicBezTo>
                  <a:cubicBezTo>
                    <a:pt x="71" y="536"/>
                    <a:pt x="72" y="537"/>
                    <a:pt x="73" y="538"/>
                  </a:cubicBezTo>
                  <a:cubicBezTo>
                    <a:pt x="74" y="539"/>
                    <a:pt x="74" y="539"/>
                    <a:pt x="74" y="539"/>
                  </a:cubicBezTo>
                  <a:cubicBezTo>
                    <a:pt x="74" y="539"/>
                    <a:pt x="74" y="540"/>
                    <a:pt x="75" y="540"/>
                  </a:cubicBezTo>
                  <a:cubicBezTo>
                    <a:pt x="75" y="541"/>
                    <a:pt x="76" y="542"/>
                    <a:pt x="77" y="543"/>
                  </a:cubicBezTo>
                  <a:cubicBezTo>
                    <a:pt x="77" y="543"/>
                    <a:pt x="80" y="545"/>
                    <a:pt x="82" y="545"/>
                  </a:cubicBezTo>
                  <a:cubicBezTo>
                    <a:pt x="83" y="545"/>
                    <a:pt x="83" y="545"/>
                    <a:pt x="83" y="545"/>
                  </a:cubicBezTo>
                  <a:cubicBezTo>
                    <a:pt x="83" y="545"/>
                    <a:pt x="83" y="546"/>
                    <a:pt x="83" y="546"/>
                  </a:cubicBezTo>
                  <a:cubicBezTo>
                    <a:pt x="82" y="549"/>
                    <a:pt x="82" y="551"/>
                    <a:pt x="82" y="553"/>
                  </a:cubicBezTo>
                  <a:cubicBezTo>
                    <a:pt x="82" y="556"/>
                    <a:pt x="82" y="556"/>
                    <a:pt x="82" y="556"/>
                  </a:cubicBezTo>
                  <a:cubicBezTo>
                    <a:pt x="83" y="559"/>
                    <a:pt x="83" y="559"/>
                    <a:pt x="83" y="559"/>
                  </a:cubicBezTo>
                  <a:cubicBezTo>
                    <a:pt x="84" y="559"/>
                    <a:pt x="84" y="559"/>
                    <a:pt x="84" y="559"/>
                  </a:cubicBezTo>
                  <a:cubicBezTo>
                    <a:pt x="85" y="561"/>
                    <a:pt x="125" y="602"/>
                    <a:pt x="284" y="662"/>
                  </a:cubicBezTo>
                  <a:cubicBezTo>
                    <a:pt x="290" y="664"/>
                    <a:pt x="290" y="664"/>
                    <a:pt x="290" y="664"/>
                  </a:cubicBezTo>
                  <a:cubicBezTo>
                    <a:pt x="288" y="658"/>
                    <a:pt x="288" y="658"/>
                    <a:pt x="288" y="658"/>
                  </a:cubicBezTo>
                  <a:cubicBezTo>
                    <a:pt x="288" y="657"/>
                    <a:pt x="287" y="656"/>
                    <a:pt x="287" y="655"/>
                  </a:cubicBezTo>
                  <a:cubicBezTo>
                    <a:pt x="285" y="645"/>
                    <a:pt x="287" y="638"/>
                    <a:pt x="290" y="629"/>
                  </a:cubicBezTo>
                  <a:cubicBezTo>
                    <a:pt x="291" y="627"/>
                    <a:pt x="292" y="625"/>
                    <a:pt x="292" y="623"/>
                  </a:cubicBezTo>
                  <a:cubicBezTo>
                    <a:pt x="294" y="616"/>
                    <a:pt x="298" y="606"/>
                    <a:pt x="295" y="599"/>
                  </a:cubicBezTo>
                  <a:cubicBezTo>
                    <a:pt x="293" y="595"/>
                    <a:pt x="292" y="593"/>
                    <a:pt x="290" y="590"/>
                  </a:cubicBezTo>
                  <a:cubicBezTo>
                    <a:pt x="287" y="586"/>
                    <a:pt x="285" y="582"/>
                    <a:pt x="284" y="576"/>
                  </a:cubicBezTo>
                  <a:cubicBezTo>
                    <a:pt x="284" y="574"/>
                    <a:pt x="283" y="573"/>
                    <a:pt x="283" y="571"/>
                  </a:cubicBezTo>
                  <a:cubicBezTo>
                    <a:pt x="282" y="564"/>
                    <a:pt x="280" y="556"/>
                    <a:pt x="277" y="551"/>
                  </a:cubicBezTo>
                  <a:cubicBezTo>
                    <a:pt x="275" y="547"/>
                    <a:pt x="273" y="545"/>
                    <a:pt x="272" y="543"/>
                  </a:cubicBezTo>
                  <a:cubicBezTo>
                    <a:pt x="269" y="540"/>
                    <a:pt x="267" y="538"/>
                    <a:pt x="268" y="530"/>
                  </a:cubicBezTo>
                  <a:cubicBezTo>
                    <a:pt x="268" y="528"/>
                    <a:pt x="268" y="528"/>
                    <a:pt x="268" y="528"/>
                  </a:cubicBezTo>
                  <a:cubicBezTo>
                    <a:pt x="268" y="520"/>
                    <a:pt x="269" y="509"/>
                    <a:pt x="262" y="505"/>
                  </a:cubicBezTo>
                  <a:cubicBezTo>
                    <a:pt x="260" y="504"/>
                    <a:pt x="259" y="503"/>
                    <a:pt x="258" y="503"/>
                  </a:cubicBezTo>
                  <a:cubicBezTo>
                    <a:pt x="255" y="503"/>
                    <a:pt x="254" y="503"/>
                    <a:pt x="253" y="498"/>
                  </a:cubicBezTo>
                  <a:cubicBezTo>
                    <a:pt x="253" y="495"/>
                    <a:pt x="253" y="493"/>
                    <a:pt x="253" y="490"/>
                  </a:cubicBezTo>
                  <a:cubicBezTo>
                    <a:pt x="253" y="488"/>
                    <a:pt x="253" y="486"/>
                    <a:pt x="252" y="484"/>
                  </a:cubicBezTo>
                  <a:cubicBezTo>
                    <a:pt x="252" y="481"/>
                    <a:pt x="252" y="481"/>
                    <a:pt x="252" y="481"/>
                  </a:cubicBezTo>
                  <a:cubicBezTo>
                    <a:pt x="251" y="473"/>
                    <a:pt x="250" y="464"/>
                    <a:pt x="244" y="460"/>
                  </a:cubicBezTo>
                  <a:cubicBezTo>
                    <a:pt x="242" y="458"/>
                    <a:pt x="241" y="458"/>
                    <a:pt x="240" y="457"/>
                  </a:cubicBezTo>
                  <a:cubicBezTo>
                    <a:pt x="238" y="456"/>
                    <a:pt x="236" y="456"/>
                    <a:pt x="235" y="453"/>
                  </a:cubicBezTo>
                  <a:cubicBezTo>
                    <a:pt x="230" y="444"/>
                    <a:pt x="240" y="425"/>
                    <a:pt x="250" y="408"/>
                  </a:cubicBezTo>
                  <a:cubicBezTo>
                    <a:pt x="252" y="406"/>
                    <a:pt x="253" y="404"/>
                    <a:pt x="254" y="402"/>
                  </a:cubicBezTo>
                  <a:cubicBezTo>
                    <a:pt x="267" y="378"/>
                    <a:pt x="280" y="353"/>
                    <a:pt x="291" y="329"/>
                  </a:cubicBezTo>
                  <a:cubicBezTo>
                    <a:pt x="292" y="328"/>
                    <a:pt x="292" y="328"/>
                    <a:pt x="292" y="328"/>
                  </a:cubicBezTo>
                  <a:cubicBezTo>
                    <a:pt x="299" y="313"/>
                    <a:pt x="306" y="300"/>
                    <a:pt x="312" y="287"/>
                  </a:cubicBezTo>
                  <a:cubicBezTo>
                    <a:pt x="318" y="277"/>
                    <a:pt x="322" y="267"/>
                    <a:pt x="327" y="257"/>
                  </a:cubicBezTo>
                  <a:cubicBezTo>
                    <a:pt x="328" y="255"/>
                    <a:pt x="328" y="255"/>
                    <a:pt x="328" y="255"/>
                  </a:cubicBezTo>
                  <a:cubicBezTo>
                    <a:pt x="334" y="244"/>
                    <a:pt x="340" y="232"/>
                    <a:pt x="346" y="220"/>
                  </a:cubicBezTo>
                  <a:cubicBezTo>
                    <a:pt x="347" y="218"/>
                    <a:pt x="347" y="218"/>
                    <a:pt x="347" y="218"/>
                  </a:cubicBezTo>
                  <a:lnTo>
                    <a:pt x="345" y="216"/>
                  </a:lnTo>
                  <a:close/>
                  <a:moveTo>
                    <a:pt x="69" y="498"/>
                  </a:moveTo>
                  <a:cubicBezTo>
                    <a:pt x="69" y="497"/>
                    <a:pt x="69" y="496"/>
                    <a:pt x="70" y="495"/>
                  </a:cubicBezTo>
                  <a:cubicBezTo>
                    <a:pt x="71" y="496"/>
                    <a:pt x="71" y="496"/>
                    <a:pt x="71" y="497"/>
                  </a:cubicBezTo>
                  <a:cubicBezTo>
                    <a:pt x="71" y="499"/>
                    <a:pt x="71" y="499"/>
                    <a:pt x="70" y="500"/>
                  </a:cubicBezTo>
                  <a:cubicBezTo>
                    <a:pt x="70" y="500"/>
                    <a:pt x="69" y="500"/>
                    <a:pt x="68" y="501"/>
                  </a:cubicBezTo>
                  <a:cubicBezTo>
                    <a:pt x="68" y="501"/>
                    <a:pt x="68" y="501"/>
                    <a:pt x="68" y="501"/>
                  </a:cubicBezTo>
                  <a:cubicBezTo>
                    <a:pt x="69" y="500"/>
                    <a:pt x="69" y="499"/>
                    <a:pt x="69" y="498"/>
                  </a:cubicBezTo>
                  <a:close/>
                  <a:moveTo>
                    <a:pt x="45" y="465"/>
                  </a:moveTo>
                  <a:cubicBezTo>
                    <a:pt x="46" y="465"/>
                    <a:pt x="46" y="465"/>
                    <a:pt x="47" y="465"/>
                  </a:cubicBezTo>
                  <a:cubicBezTo>
                    <a:pt x="47" y="465"/>
                    <a:pt x="47" y="465"/>
                    <a:pt x="47" y="465"/>
                  </a:cubicBezTo>
                  <a:cubicBezTo>
                    <a:pt x="48" y="465"/>
                    <a:pt x="48" y="465"/>
                    <a:pt x="48" y="465"/>
                  </a:cubicBezTo>
                  <a:cubicBezTo>
                    <a:pt x="48" y="465"/>
                    <a:pt x="49" y="465"/>
                    <a:pt x="49" y="465"/>
                  </a:cubicBezTo>
                  <a:cubicBezTo>
                    <a:pt x="49" y="466"/>
                    <a:pt x="48" y="467"/>
                    <a:pt x="48" y="469"/>
                  </a:cubicBezTo>
                  <a:cubicBezTo>
                    <a:pt x="48" y="469"/>
                    <a:pt x="48" y="469"/>
                    <a:pt x="48" y="469"/>
                  </a:cubicBezTo>
                  <a:cubicBezTo>
                    <a:pt x="46" y="468"/>
                    <a:pt x="45" y="467"/>
                    <a:pt x="44" y="465"/>
                  </a:cubicBezTo>
                  <a:cubicBezTo>
                    <a:pt x="44" y="465"/>
                    <a:pt x="44" y="465"/>
                    <a:pt x="45" y="465"/>
                  </a:cubicBezTo>
                  <a:cubicBezTo>
                    <a:pt x="45" y="465"/>
                    <a:pt x="45" y="465"/>
                    <a:pt x="45" y="465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auto">
            <a:xfrm>
              <a:off x="13017546" y="6263595"/>
              <a:ext cx="246210" cy="466642"/>
            </a:xfrm>
            <a:custGeom>
              <a:avLst/>
              <a:gdLst>
                <a:gd name="T0" fmla="*/ 33 w 45"/>
                <a:gd name="T1" fmla="*/ 35 h 94"/>
                <a:gd name="T2" fmla="*/ 36 w 45"/>
                <a:gd name="T3" fmla="*/ 31 h 94"/>
                <a:gd name="T4" fmla="*/ 43 w 45"/>
                <a:gd name="T5" fmla="*/ 19 h 94"/>
                <a:gd name="T6" fmla="*/ 33 w 45"/>
                <a:gd name="T7" fmla="*/ 11 h 94"/>
                <a:gd name="T8" fmla="*/ 21 w 45"/>
                <a:gd name="T9" fmla="*/ 0 h 94"/>
                <a:gd name="T10" fmla="*/ 14 w 45"/>
                <a:gd name="T11" fmla="*/ 5 h 94"/>
                <a:gd name="T12" fmla="*/ 12 w 45"/>
                <a:gd name="T13" fmla="*/ 7 h 94"/>
                <a:gd name="T14" fmla="*/ 7 w 45"/>
                <a:gd name="T15" fmla="*/ 20 h 94"/>
                <a:gd name="T16" fmla="*/ 6 w 45"/>
                <a:gd name="T17" fmla="*/ 27 h 94"/>
                <a:gd name="T18" fmla="*/ 6 w 45"/>
                <a:gd name="T19" fmla="*/ 40 h 94"/>
                <a:gd name="T20" fmla="*/ 3 w 45"/>
                <a:gd name="T21" fmla="*/ 40 h 94"/>
                <a:gd name="T22" fmla="*/ 2 w 45"/>
                <a:gd name="T23" fmla="*/ 43 h 94"/>
                <a:gd name="T24" fmla="*/ 2 w 45"/>
                <a:gd name="T25" fmla="*/ 46 h 94"/>
                <a:gd name="T26" fmla="*/ 1 w 45"/>
                <a:gd name="T27" fmla="*/ 51 h 94"/>
                <a:gd name="T28" fmla="*/ 3 w 45"/>
                <a:gd name="T29" fmla="*/ 57 h 94"/>
                <a:gd name="T30" fmla="*/ 3 w 45"/>
                <a:gd name="T31" fmla="*/ 59 h 94"/>
                <a:gd name="T32" fmla="*/ 3 w 45"/>
                <a:gd name="T33" fmla="*/ 75 h 94"/>
                <a:gd name="T34" fmla="*/ 3 w 45"/>
                <a:gd name="T35" fmla="*/ 76 h 94"/>
                <a:gd name="T36" fmla="*/ 2 w 45"/>
                <a:gd name="T37" fmla="*/ 84 h 94"/>
                <a:gd name="T38" fmla="*/ 2 w 45"/>
                <a:gd name="T39" fmla="*/ 86 h 94"/>
                <a:gd name="T40" fmla="*/ 10 w 45"/>
                <a:gd name="T41" fmla="*/ 94 h 94"/>
                <a:gd name="T42" fmla="*/ 14 w 45"/>
                <a:gd name="T43" fmla="*/ 92 h 94"/>
                <a:gd name="T44" fmla="*/ 13 w 45"/>
                <a:gd name="T45" fmla="*/ 82 h 94"/>
                <a:gd name="T46" fmla="*/ 13 w 45"/>
                <a:gd name="T47" fmla="*/ 82 h 94"/>
                <a:gd name="T48" fmla="*/ 12 w 45"/>
                <a:gd name="T49" fmla="*/ 69 h 94"/>
                <a:gd name="T50" fmla="*/ 14 w 45"/>
                <a:gd name="T51" fmla="*/ 64 h 94"/>
                <a:gd name="T52" fmla="*/ 18 w 45"/>
                <a:gd name="T53" fmla="*/ 61 h 94"/>
                <a:gd name="T54" fmla="*/ 21 w 45"/>
                <a:gd name="T55" fmla="*/ 58 h 94"/>
                <a:gd name="T56" fmla="*/ 24 w 45"/>
                <a:gd name="T57" fmla="*/ 52 h 94"/>
                <a:gd name="T58" fmla="*/ 23 w 45"/>
                <a:gd name="T59" fmla="*/ 44 h 94"/>
                <a:gd name="T60" fmla="*/ 26 w 45"/>
                <a:gd name="T61" fmla="*/ 41 h 94"/>
                <a:gd name="T62" fmla="*/ 28 w 45"/>
                <a:gd name="T63" fmla="*/ 39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5" h="94">
                  <a:moveTo>
                    <a:pt x="28" y="39"/>
                  </a:moveTo>
                  <a:cubicBezTo>
                    <a:pt x="31" y="39"/>
                    <a:pt x="32" y="36"/>
                    <a:pt x="33" y="35"/>
                  </a:cubicBezTo>
                  <a:cubicBezTo>
                    <a:pt x="33" y="35"/>
                    <a:pt x="34" y="34"/>
                    <a:pt x="34" y="34"/>
                  </a:cubicBezTo>
                  <a:cubicBezTo>
                    <a:pt x="35" y="33"/>
                    <a:pt x="36" y="33"/>
                    <a:pt x="36" y="31"/>
                  </a:cubicBezTo>
                  <a:cubicBezTo>
                    <a:pt x="39" y="31"/>
                    <a:pt x="44" y="29"/>
                    <a:pt x="45" y="26"/>
                  </a:cubicBezTo>
                  <a:cubicBezTo>
                    <a:pt x="45" y="23"/>
                    <a:pt x="45" y="21"/>
                    <a:pt x="43" y="19"/>
                  </a:cubicBezTo>
                  <a:cubicBezTo>
                    <a:pt x="42" y="18"/>
                    <a:pt x="40" y="17"/>
                    <a:pt x="38" y="16"/>
                  </a:cubicBezTo>
                  <a:cubicBezTo>
                    <a:pt x="37" y="14"/>
                    <a:pt x="36" y="12"/>
                    <a:pt x="33" y="11"/>
                  </a:cubicBezTo>
                  <a:cubicBezTo>
                    <a:pt x="31" y="10"/>
                    <a:pt x="31" y="10"/>
                    <a:pt x="31" y="9"/>
                  </a:cubicBezTo>
                  <a:cubicBezTo>
                    <a:pt x="30" y="5"/>
                    <a:pt x="26" y="0"/>
                    <a:pt x="21" y="0"/>
                  </a:cubicBezTo>
                  <a:cubicBezTo>
                    <a:pt x="20" y="0"/>
                    <a:pt x="19" y="1"/>
                    <a:pt x="18" y="1"/>
                  </a:cubicBezTo>
                  <a:cubicBezTo>
                    <a:pt x="16" y="2"/>
                    <a:pt x="15" y="4"/>
                    <a:pt x="14" y="5"/>
                  </a:cubicBezTo>
                  <a:cubicBezTo>
                    <a:pt x="13" y="5"/>
                    <a:pt x="13" y="6"/>
                    <a:pt x="12" y="6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1" y="8"/>
                    <a:pt x="9" y="10"/>
                    <a:pt x="8" y="12"/>
                  </a:cubicBezTo>
                  <a:cubicBezTo>
                    <a:pt x="7" y="15"/>
                    <a:pt x="7" y="18"/>
                    <a:pt x="7" y="20"/>
                  </a:cubicBezTo>
                  <a:cubicBezTo>
                    <a:pt x="7" y="23"/>
                    <a:pt x="7" y="25"/>
                    <a:pt x="7" y="27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6" y="30"/>
                    <a:pt x="5" y="32"/>
                    <a:pt x="5" y="35"/>
                  </a:cubicBezTo>
                  <a:cubicBezTo>
                    <a:pt x="6" y="37"/>
                    <a:pt x="6" y="39"/>
                    <a:pt x="6" y="40"/>
                  </a:cubicBezTo>
                  <a:cubicBezTo>
                    <a:pt x="6" y="40"/>
                    <a:pt x="5" y="40"/>
                    <a:pt x="5" y="40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2" y="42"/>
                    <a:pt x="2" y="43"/>
                    <a:pt x="2" y="43"/>
                  </a:cubicBezTo>
                  <a:cubicBezTo>
                    <a:pt x="2" y="43"/>
                    <a:pt x="2" y="45"/>
                    <a:pt x="2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1" y="52"/>
                    <a:pt x="1" y="53"/>
                    <a:pt x="1" y="54"/>
                  </a:cubicBezTo>
                  <a:cubicBezTo>
                    <a:pt x="2" y="56"/>
                    <a:pt x="3" y="57"/>
                    <a:pt x="3" y="57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2" y="59"/>
                    <a:pt x="2" y="60"/>
                    <a:pt x="2" y="61"/>
                  </a:cubicBezTo>
                  <a:cubicBezTo>
                    <a:pt x="0" y="65"/>
                    <a:pt x="1" y="72"/>
                    <a:pt x="3" y="75"/>
                  </a:cubicBezTo>
                  <a:cubicBezTo>
                    <a:pt x="3" y="76"/>
                    <a:pt x="3" y="76"/>
                    <a:pt x="3" y="76"/>
                  </a:cubicBezTo>
                  <a:cubicBezTo>
                    <a:pt x="3" y="76"/>
                    <a:pt x="3" y="76"/>
                    <a:pt x="3" y="76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1" y="81"/>
                    <a:pt x="1" y="83"/>
                    <a:pt x="2" y="84"/>
                  </a:cubicBezTo>
                  <a:cubicBezTo>
                    <a:pt x="2" y="85"/>
                    <a:pt x="2" y="85"/>
                    <a:pt x="2" y="85"/>
                  </a:cubicBezTo>
                  <a:cubicBezTo>
                    <a:pt x="2" y="86"/>
                    <a:pt x="2" y="86"/>
                    <a:pt x="2" y="86"/>
                  </a:cubicBezTo>
                  <a:cubicBezTo>
                    <a:pt x="3" y="88"/>
                    <a:pt x="3" y="90"/>
                    <a:pt x="6" y="91"/>
                  </a:cubicBezTo>
                  <a:cubicBezTo>
                    <a:pt x="7" y="94"/>
                    <a:pt x="8" y="94"/>
                    <a:pt x="10" y="94"/>
                  </a:cubicBezTo>
                  <a:cubicBezTo>
                    <a:pt x="10" y="94"/>
                    <a:pt x="10" y="94"/>
                    <a:pt x="10" y="94"/>
                  </a:cubicBezTo>
                  <a:cubicBezTo>
                    <a:pt x="12" y="94"/>
                    <a:pt x="13" y="93"/>
                    <a:pt x="14" y="92"/>
                  </a:cubicBezTo>
                  <a:cubicBezTo>
                    <a:pt x="16" y="89"/>
                    <a:pt x="14" y="85"/>
                    <a:pt x="13" y="83"/>
                  </a:cubicBezTo>
                  <a:cubicBezTo>
                    <a:pt x="13" y="83"/>
                    <a:pt x="13" y="83"/>
                    <a:pt x="13" y="82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2" y="82"/>
                    <a:pt x="13" y="82"/>
                    <a:pt x="13" y="82"/>
                  </a:cubicBezTo>
                  <a:cubicBezTo>
                    <a:pt x="15" y="78"/>
                    <a:pt x="13" y="75"/>
                    <a:pt x="13" y="72"/>
                  </a:cubicBezTo>
                  <a:cubicBezTo>
                    <a:pt x="12" y="71"/>
                    <a:pt x="12" y="70"/>
                    <a:pt x="12" y="69"/>
                  </a:cubicBezTo>
                  <a:cubicBezTo>
                    <a:pt x="12" y="68"/>
                    <a:pt x="12" y="68"/>
                    <a:pt x="13" y="67"/>
                  </a:cubicBezTo>
                  <a:cubicBezTo>
                    <a:pt x="13" y="66"/>
                    <a:pt x="14" y="65"/>
                    <a:pt x="14" y="64"/>
                  </a:cubicBezTo>
                  <a:cubicBezTo>
                    <a:pt x="15" y="63"/>
                    <a:pt x="16" y="63"/>
                    <a:pt x="17" y="62"/>
                  </a:cubicBezTo>
                  <a:cubicBezTo>
                    <a:pt x="17" y="62"/>
                    <a:pt x="18" y="61"/>
                    <a:pt x="18" y="61"/>
                  </a:cubicBezTo>
                  <a:cubicBezTo>
                    <a:pt x="18" y="61"/>
                    <a:pt x="18" y="61"/>
                    <a:pt x="19" y="60"/>
                  </a:cubicBezTo>
                  <a:cubicBezTo>
                    <a:pt x="20" y="60"/>
                    <a:pt x="21" y="59"/>
                    <a:pt x="21" y="58"/>
                  </a:cubicBezTo>
                  <a:cubicBezTo>
                    <a:pt x="23" y="57"/>
                    <a:pt x="22" y="55"/>
                    <a:pt x="22" y="54"/>
                  </a:cubicBezTo>
                  <a:cubicBezTo>
                    <a:pt x="23" y="54"/>
                    <a:pt x="23" y="53"/>
                    <a:pt x="24" y="52"/>
                  </a:cubicBezTo>
                  <a:cubicBezTo>
                    <a:pt x="24" y="51"/>
                    <a:pt x="24" y="49"/>
                    <a:pt x="24" y="48"/>
                  </a:cubicBezTo>
                  <a:cubicBezTo>
                    <a:pt x="24" y="46"/>
                    <a:pt x="24" y="45"/>
                    <a:pt x="23" y="44"/>
                  </a:cubicBezTo>
                  <a:cubicBezTo>
                    <a:pt x="24" y="44"/>
                    <a:pt x="25" y="43"/>
                    <a:pt x="25" y="42"/>
                  </a:cubicBezTo>
                  <a:cubicBezTo>
                    <a:pt x="26" y="42"/>
                    <a:pt x="26" y="42"/>
                    <a:pt x="26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7" y="41"/>
                    <a:pt x="27" y="40"/>
                    <a:pt x="28" y="39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auto">
            <a:xfrm>
              <a:off x="21089127" y="8454948"/>
              <a:ext cx="816596" cy="640233"/>
            </a:xfrm>
            <a:custGeom>
              <a:avLst/>
              <a:gdLst>
                <a:gd name="T0" fmla="*/ 147 w 150"/>
                <a:gd name="T1" fmla="*/ 54 h 129"/>
                <a:gd name="T2" fmla="*/ 142 w 150"/>
                <a:gd name="T3" fmla="*/ 53 h 129"/>
                <a:gd name="T4" fmla="*/ 140 w 150"/>
                <a:gd name="T5" fmla="*/ 53 h 129"/>
                <a:gd name="T6" fmla="*/ 135 w 150"/>
                <a:gd name="T7" fmla="*/ 53 h 129"/>
                <a:gd name="T8" fmla="*/ 130 w 150"/>
                <a:gd name="T9" fmla="*/ 50 h 129"/>
                <a:gd name="T10" fmla="*/ 127 w 150"/>
                <a:gd name="T11" fmla="*/ 48 h 129"/>
                <a:gd name="T12" fmla="*/ 123 w 150"/>
                <a:gd name="T13" fmla="*/ 42 h 129"/>
                <a:gd name="T14" fmla="*/ 116 w 150"/>
                <a:gd name="T15" fmla="*/ 37 h 129"/>
                <a:gd name="T16" fmla="*/ 116 w 150"/>
                <a:gd name="T17" fmla="*/ 31 h 129"/>
                <a:gd name="T18" fmla="*/ 102 w 150"/>
                <a:gd name="T19" fmla="*/ 30 h 129"/>
                <a:gd name="T20" fmla="*/ 103 w 150"/>
                <a:gd name="T21" fmla="*/ 29 h 129"/>
                <a:gd name="T22" fmla="*/ 96 w 150"/>
                <a:gd name="T23" fmla="*/ 0 h 129"/>
                <a:gd name="T24" fmla="*/ 83 w 150"/>
                <a:gd name="T25" fmla="*/ 10 h 129"/>
                <a:gd name="T26" fmla="*/ 82 w 150"/>
                <a:gd name="T27" fmla="*/ 10 h 129"/>
                <a:gd name="T28" fmla="*/ 73 w 150"/>
                <a:gd name="T29" fmla="*/ 5 h 129"/>
                <a:gd name="T30" fmla="*/ 69 w 150"/>
                <a:gd name="T31" fmla="*/ 6 h 129"/>
                <a:gd name="T32" fmla="*/ 68 w 150"/>
                <a:gd name="T33" fmla="*/ 6 h 129"/>
                <a:gd name="T34" fmla="*/ 49 w 150"/>
                <a:gd name="T35" fmla="*/ 17 h 129"/>
                <a:gd name="T36" fmla="*/ 43 w 150"/>
                <a:gd name="T37" fmla="*/ 21 h 129"/>
                <a:gd name="T38" fmla="*/ 38 w 150"/>
                <a:gd name="T39" fmla="*/ 22 h 129"/>
                <a:gd name="T40" fmla="*/ 33 w 150"/>
                <a:gd name="T41" fmla="*/ 21 h 129"/>
                <a:gd name="T42" fmla="*/ 13 w 150"/>
                <a:gd name="T43" fmla="*/ 31 h 129"/>
                <a:gd name="T44" fmla="*/ 13 w 150"/>
                <a:gd name="T45" fmla="*/ 39 h 129"/>
                <a:gd name="T46" fmla="*/ 8 w 150"/>
                <a:gd name="T47" fmla="*/ 56 h 129"/>
                <a:gd name="T48" fmla="*/ 0 w 150"/>
                <a:gd name="T49" fmla="*/ 64 h 129"/>
                <a:gd name="T50" fmla="*/ 15 w 150"/>
                <a:gd name="T51" fmla="*/ 60 h 129"/>
                <a:gd name="T52" fmla="*/ 21 w 150"/>
                <a:gd name="T53" fmla="*/ 58 h 129"/>
                <a:gd name="T54" fmla="*/ 43 w 150"/>
                <a:gd name="T55" fmla="*/ 81 h 129"/>
                <a:gd name="T56" fmla="*/ 48 w 150"/>
                <a:gd name="T57" fmla="*/ 91 h 129"/>
                <a:gd name="T58" fmla="*/ 49 w 150"/>
                <a:gd name="T59" fmla="*/ 99 h 129"/>
                <a:gd name="T60" fmla="*/ 60 w 150"/>
                <a:gd name="T61" fmla="*/ 111 h 129"/>
                <a:gd name="T62" fmla="*/ 64 w 150"/>
                <a:gd name="T63" fmla="*/ 111 h 129"/>
                <a:gd name="T64" fmla="*/ 65 w 150"/>
                <a:gd name="T65" fmla="*/ 113 h 129"/>
                <a:gd name="T66" fmla="*/ 74 w 150"/>
                <a:gd name="T67" fmla="*/ 129 h 129"/>
                <a:gd name="T68" fmla="*/ 83 w 150"/>
                <a:gd name="T69" fmla="*/ 126 h 129"/>
                <a:gd name="T70" fmla="*/ 88 w 150"/>
                <a:gd name="T71" fmla="*/ 124 h 129"/>
                <a:gd name="T72" fmla="*/ 92 w 150"/>
                <a:gd name="T73" fmla="*/ 124 h 129"/>
                <a:gd name="T74" fmla="*/ 97 w 150"/>
                <a:gd name="T75" fmla="*/ 122 h 129"/>
                <a:gd name="T76" fmla="*/ 101 w 150"/>
                <a:gd name="T77" fmla="*/ 119 h 129"/>
                <a:gd name="T78" fmla="*/ 124 w 150"/>
                <a:gd name="T79" fmla="*/ 98 h 129"/>
                <a:gd name="T80" fmla="*/ 129 w 150"/>
                <a:gd name="T81" fmla="*/ 93 h 129"/>
                <a:gd name="T82" fmla="*/ 133 w 150"/>
                <a:gd name="T83" fmla="*/ 92 h 129"/>
                <a:gd name="T84" fmla="*/ 144 w 150"/>
                <a:gd name="T85" fmla="*/ 96 h 129"/>
                <a:gd name="T86" fmla="*/ 144 w 150"/>
                <a:gd name="T87" fmla="*/ 78 h 129"/>
                <a:gd name="T88" fmla="*/ 150 w 150"/>
                <a:gd name="T89" fmla="*/ 5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50" h="129">
                  <a:moveTo>
                    <a:pt x="150" y="57"/>
                  </a:moveTo>
                  <a:cubicBezTo>
                    <a:pt x="149" y="56"/>
                    <a:pt x="149" y="54"/>
                    <a:pt x="147" y="54"/>
                  </a:cubicBezTo>
                  <a:cubicBezTo>
                    <a:pt x="146" y="53"/>
                    <a:pt x="145" y="53"/>
                    <a:pt x="144" y="53"/>
                  </a:cubicBezTo>
                  <a:cubicBezTo>
                    <a:pt x="144" y="53"/>
                    <a:pt x="143" y="53"/>
                    <a:pt x="142" y="53"/>
                  </a:cubicBezTo>
                  <a:cubicBezTo>
                    <a:pt x="142" y="53"/>
                    <a:pt x="142" y="53"/>
                    <a:pt x="142" y="53"/>
                  </a:cubicBezTo>
                  <a:cubicBezTo>
                    <a:pt x="140" y="53"/>
                    <a:pt x="140" y="53"/>
                    <a:pt x="140" y="53"/>
                  </a:cubicBezTo>
                  <a:cubicBezTo>
                    <a:pt x="139" y="53"/>
                    <a:pt x="137" y="53"/>
                    <a:pt x="136" y="53"/>
                  </a:cubicBezTo>
                  <a:cubicBezTo>
                    <a:pt x="135" y="53"/>
                    <a:pt x="135" y="53"/>
                    <a:pt x="135" y="53"/>
                  </a:cubicBezTo>
                  <a:cubicBezTo>
                    <a:pt x="134" y="53"/>
                    <a:pt x="133" y="53"/>
                    <a:pt x="132" y="52"/>
                  </a:cubicBezTo>
                  <a:cubicBezTo>
                    <a:pt x="132" y="51"/>
                    <a:pt x="131" y="51"/>
                    <a:pt x="130" y="50"/>
                  </a:cubicBezTo>
                  <a:cubicBezTo>
                    <a:pt x="130" y="49"/>
                    <a:pt x="129" y="49"/>
                    <a:pt x="128" y="48"/>
                  </a:cubicBezTo>
                  <a:cubicBezTo>
                    <a:pt x="128" y="48"/>
                    <a:pt x="127" y="48"/>
                    <a:pt x="127" y="48"/>
                  </a:cubicBezTo>
                  <a:cubicBezTo>
                    <a:pt x="127" y="47"/>
                    <a:pt x="126" y="47"/>
                    <a:pt x="126" y="46"/>
                  </a:cubicBezTo>
                  <a:cubicBezTo>
                    <a:pt x="126" y="45"/>
                    <a:pt x="125" y="44"/>
                    <a:pt x="123" y="42"/>
                  </a:cubicBezTo>
                  <a:cubicBezTo>
                    <a:pt x="122" y="41"/>
                    <a:pt x="121" y="41"/>
                    <a:pt x="120" y="40"/>
                  </a:cubicBezTo>
                  <a:cubicBezTo>
                    <a:pt x="118" y="39"/>
                    <a:pt x="117" y="38"/>
                    <a:pt x="116" y="37"/>
                  </a:cubicBezTo>
                  <a:cubicBezTo>
                    <a:pt x="116" y="37"/>
                    <a:pt x="116" y="36"/>
                    <a:pt x="116" y="36"/>
                  </a:cubicBezTo>
                  <a:cubicBezTo>
                    <a:pt x="116" y="34"/>
                    <a:pt x="116" y="33"/>
                    <a:pt x="116" y="31"/>
                  </a:cubicBezTo>
                  <a:cubicBezTo>
                    <a:pt x="115" y="29"/>
                    <a:pt x="113" y="27"/>
                    <a:pt x="110" y="27"/>
                  </a:cubicBezTo>
                  <a:cubicBezTo>
                    <a:pt x="108" y="27"/>
                    <a:pt x="105" y="28"/>
                    <a:pt x="102" y="30"/>
                  </a:cubicBezTo>
                  <a:cubicBezTo>
                    <a:pt x="102" y="30"/>
                    <a:pt x="102" y="30"/>
                    <a:pt x="102" y="30"/>
                  </a:cubicBezTo>
                  <a:cubicBezTo>
                    <a:pt x="103" y="29"/>
                    <a:pt x="103" y="29"/>
                    <a:pt x="103" y="29"/>
                  </a:cubicBezTo>
                  <a:cubicBezTo>
                    <a:pt x="106" y="24"/>
                    <a:pt x="107" y="11"/>
                    <a:pt x="104" y="4"/>
                  </a:cubicBezTo>
                  <a:cubicBezTo>
                    <a:pt x="102" y="1"/>
                    <a:pt x="100" y="0"/>
                    <a:pt x="96" y="0"/>
                  </a:cubicBezTo>
                  <a:cubicBezTo>
                    <a:pt x="90" y="0"/>
                    <a:pt x="86" y="6"/>
                    <a:pt x="84" y="9"/>
                  </a:cubicBezTo>
                  <a:cubicBezTo>
                    <a:pt x="84" y="9"/>
                    <a:pt x="83" y="10"/>
                    <a:pt x="83" y="10"/>
                  </a:cubicBezTo>
                  <a:cubicBezTo>
                    <a:pt x="83" y="10"/>
                    <a:pt x="83" y="11"/>
                    <a:pt x="83" y="11"/>
                  </a:cubicBezTo>
                  <a:cubicBezTo>
                    <a:pt x="82" y="11"/>
                    <a:pt x="82" y="11"/>
                    <a:pt x="82" y="10"/>
                  </a:cubicBezTo>
                  <a:cubicBezTo>
                    <a:pt x="81" y="9"/>
                    <a:pt x="80" y="8"/>
                    <a:pt x="79" y="7"/>
                  </a:cubicBezTo>
                  <a:cubicBezTo>
                    <a:pt x="77" y="6"/>
                    <a:pt x="75" y="5"/>
                    <a:pt x="73" y="5"/>
                  </a:cubicBezTo>
                  <a:cubicBezTo>
                    <a:pt x="72" y="5"/>
                    <a:pt x="71" y="5"/>
                    <a:pt x="71" y="5"/>
                  </a:cubicBezTo>
                  <a:cubicBezTo>
                    <a:pt x="70" y="5"/>
                    <a:pt x="69" y="6"/>
                    <a:pt x="69" y="6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1" y="8"/>
                    <a:pt x="55" y="12"/>
                    <a:pt x="51" y="15"/>
                  </a:cubicBezTo>
                  <a:cubicBezTo>
                    <a:pt x="50" y="15"/>
                    <a:pt x="49" y="16"/>
                    <a:pt x="49" y="17"/>
                  </a:cubicBezTo>
                  <a:cubicBezTo>
                    <a:pt x="48" y="17"/>
                    <a:pt x="48" y="17"/>
                    <a:pt x="48" y="17"/>
                  </a:cubicBezTo>
                  <a:cubicBezTo>
                    <a:pt x="46" y="19"/>
                    <a:pt x="45" y="21"/>
                    <a:pt x="43" y="21"/>
                  </a:cubicBezTo>
                  <a:cubicBezTo>
                    <a:pt x="42" y="22"/>
                    <a:pt x="41" y="22"/>
                    <a:pt x="40" y="22"/>
                  </a:cubicBezTo>
                  <a:cubicBezTo>
                    <a:pt x="39" y="22"/>
                    <a:pt x="38" y="22"/>
                    <a:pt x="38" y="22"/>
                  </a:cubicBezTo>
                  <a:cubicBezTo>
                    <a:pt x="37" y="21"/>
                    <a:pt x="36" y="21"/>
                    <a:pt x="35" y="21"/>
                  </a:cubicBezTo>
                  <a:cubicBezTo>
                    <a:pt x="34" y="21"/>
                    <a:pt x="34" y="21"/>
                    <a:pt x="33" y="21"/>
                  </a:cubicBezTo>
                  <a:cubicBezTo>
                    <a:pt x="30" y="22"/>
                    <a:pt x="16" y="28"/>
                    <a:pt x="13" y="30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2" y="33"/>
                    <a:pt x="12" y="36"/>
                    <a:pt x="13" y="39"/>
                  </a:cubicBezTo>
                  <a:cubicBezTo>
                    <a:pt x="14" y="42"/>
                    <a:pt x="15" y="46"/>
                    <a:pt x="12" y="51"/>
                  </a:cubicBezTo>
                  <a:cubicBezTo>
                    <a:pt x="11" y="53"/>
                    <a:pt x="9" y="54"/>
                    <a:pt x="8" y="56"/>
                  </a:cubicBezTo>
                  <a:cubicBezTo>
                    <a:pt x="7" y="56"/>
                    <a:pt x="7" y="57"/>
                    <a:pt x="6" y="58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11" y="62"/>
                    <a:pt x="13" y="61"/>
                    <a:pt x="15" y="60"/>
                  </a:cubicBezTo>
                  <a:cubicBezTo>
                    <a:pt x="17" y="59"/>
                    <a:pt x="18" y="59"/>
                    <a:pt x="20" y="58"/>
                  </a:cubicBezTo>
                  <a:cubicBezTo>
                    <a:pt x="20" y="58"/>
                    <a:pt x="21" y="58"/>
                    <a:pt x="21" y="58"/>
                  </a:cubicBezTo>
                  <a:cubicBezTo>
                    <a:pt x="24" y="58"/>
                    <a:pt x="26" y="59"/>
                    <a:pt x="29" y="61"/>
                  </a:cubicBezTo>
                  <a:cubicBezTo>
                    <a:pt x="36" y="67"/>
                    <a:pt x="41" y="75"/>
                    <a:pt x="43" y="81"/>
                  </a:cubicBezTo>
                  <a:cubicBezTo>
                    <a:pt x="44" y="82"/>
                    <a:pt x="45" y="84"/>
                    <a:pt x="45" y="85"/>
                  </a:cubicBezTo>
                  <a:cubicBezTo>
                    <a:pt x="46" y="87"/>
                    <a:pt x="48" y="89"/>
                    <a:pt x="48" y="91"/>
                  </a:cubicBezTo>
                  <a:cubicBezTo>
                    <a:pt x="48" y="92"/>
                    <a:pt x="48" y="93"/>
                    <a:pt x="48" y="94"/>
                  </a:cubicBezTo>
                  <a:cubicBezTo>
                    <a:pt x="49" y="96"/>
                    <a:pt x="49" y="97"/>
                    <a:pt x="49" y="99"/>
                  </a:cubicBezTo>
                  <a:cubicBezTo>
                    <a:pt x="50" y="102"/>
                    <a:pt x="52" y="107"/>
                    <a:pt x="55" y="110"/>
                  </a:cubicBezTo>
                  <a:cubicBezTo>
                    <a:pt x="57" y="111"/>
                    <a:pt x="58" y="111"/>
                    <a:pt x="60" y="111"/>
                  </a:cubicBezTo>
                  <a:cubicBezTo>
                    <a:pt x="61" y="111"/>
                    <a:pt x="61" y="111"/>
                    <a:pt x="62" y="111"/>
                  </a:cubicBezTo>
                  <a:cubicBezTo>
                    <a:pt x="63" y="111"/>
                    <a:pt x="64" y="111"/>
                    <a:pt x="64" y="111"/>
                  </a:cubicBezTo>
                  <a:cubicBezTo>
                    <a:pt x="65" y="111"/>
                    <a:pt x="65" y="111"/>
                    <a:pt x="65" y="111"/>
                  </a:cubicBezTo>
                  <a:cubicBezTo>
                    <a:pt x="65" y="111"/>
                    <a:pt x="66" y="111"/>
                    <a:pt x="65" y="113"/>
                  </a:cubicBezTo>
                  <a:cubicBezTo>
                    <a:pt x="65" y="115"/>
                    <a:pt x="66" y="117"/>
                    <a:pt x="66" y="119"/>
                  </a:cubicBezTo>
                  <a:cubicBezTo>
                    <a:pt x="67" y="122"/>
                    <a:pt x="68" y="128"/>
                    <a:pt x="74" y="129"/>
                  </a:cubicBezTo>
                  <a:cubicBezTo>
                    <a:pt x="75" y="129"/>
                    <a:pt x="75" y="129"/>
                    <a:pt x="76" y="129"/>
                  </a:cubicBezTo>
                  <a:cubicBezTo>
                    <a:pt x="79" y="129"/>
                    <a:pt x="81" y="128"/>
                    <a:pt x="83" y="126"/>
                  </a:cubicBezTo>
                  <a:cubicBezTo>
                    <a:pt x="84" y="126"/>
                    <a:pt x="85" y="126"/>
                    <a:pt x="85" y="125"/>
                  </a:cubicBezTo>
                  <a:cubicBezTo>
                    <a:pt x="86" y="125"/>
                    <a:pt x="87" y="124"/>
                    <a:pt x="88" y="124"/>
                  </a:cubicBezTo>
                  <a:cubicBezTo>
                    <a:pt x="90" y="124"/>
                    <a:pt x="90" y="124"/>
                    <a:pt x="90" y="124"/>
                  </a:cubicBezTo>
                  <a:cubicBezTo>
                    <a:pt x="90" y="124"/>
                    <a:pt x="91" y="124"/>
                    <a:pt x="92" y="124"/>
                  </a:cubicBezTo>
                  <a:cubicBezTo>
                    <a:pt x="92" y="124"/>
                    <a:pt x="93" y="124"/>
                    <a:pt x="93" y="124"/>
                  </a:cubicBezTo>
                  <a:cubicBezTo>
                    <a:pt x="94" y="124"/>
                    <a:pt x="96" y="124"/>
                    <a:pt x="97" y="122"/>
                  </a:cubicBezTo>
                  <a:cubicBezTo>
                    <a:pt x="98" y="122"/>
                    <a:pt x="99" y="121"/>
                    <a:pt x="99" y="121"/>
                  </a:cubicBezTo>
                  <a:cubicBezTo>
                    <a:pt x="100" y="120"/>
                    <a:pt x="100" y="120"/>
                    <a:pt x="101" y="119"/>
                  </a:cubicBezTo>
                  <a:cubicBezTo>
                    <a:pt x="108" y="114"/>
                    <a:pt x="115" y="108"/>
                    <a:pt x="122" y="100"/>
                  </a:cubicBezTo>
                  <a:cubicBezTo>
                    <a:pt x="124" y="98"/>
                    <a:pt x="124" y="98"/>
                    <a:pt x="124" y="98"/>
                  </a:cubicBezTo>
                  <a:cubicBezTo>
                    <a:pt x="125" y="97"/>
                    <a:pt x="127" y="95"/>
                    <a:pt x="128" y="94"/>
                  </a:cubicBezTo>
                  <a:cubicBezTo>
                    <a:pt x="129" y="93"/>
                    <a:pt x="129" y="93"/>
                    <a:pt x="129" y="93"/>
                  </a:cubicBezTo>
                  <a:cubicBezTo>
                    <a:pt x="130" y="93"/>
                    <a:pt x="131" y="91"/>
                    <a:pt x="131" y="91"/>
                  </a:cubicBezTo>
                  <a:cubicBezTo>
                    <a:pt x="132" y="91"/>
                    <a:pt x="132" y="92"/>
                    <a:pt x="133" y="92"/>
                  </a:cubicBezTo>
                  <a:cubicBezTo>
                    <a:pt x="134" y="94"/>
                    <a:pt x="135" y="95"/>
                    <a:pt x="138" y="96"/>
                  </a:cubicBezTo>
                  <a:cubicBezTo>
                    <a:pt x="144" y="96"/>
                    <a:pt x="144" y="96"/>
                    <a:pt x="144" y="96"/>
                  </a:cubicBezTo>
                  <a:cubicBezTo>
                    <a:pt x="141" y="91"/>
                    <a:pt x="141" y="91"/>
                    <a:pt x="141" y="91"/>
                  </a:cubicBezTo>
                  <a:cubicBezTo>
                    <a:pt x="142" y="87"/>
                    <a:pt x="144" y="82"/>
                    <a:pt x="144" y="78"/>
                  </a:cubicBezTo>
                  <a:cubicBezTo>
                    <a:pt x="146" y="72"/>
                    <a:pt x="148" y="66"/>
                    <a:pt x="150" y="60"/>
                  </a:cubicBezTo>
                  <a:cubicBezTo>
                    <a:pt x="150" y="59"/>
                    <a:pt x="150" y="59"/>
                    <a:pt x="150" y="59"/>
                  </a:cubicBezTo>
                  <a:lnTo>
                    <a:pt x="150" y="57"/>
                  </a:ln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8" name="Freeform 57"/>
            <p:cNvSpPr>
              <a:spLocks/>
            </p:cNvSpPr>
            <p:nvPr/>
          </p:nvSpPr>
          <p:spPr bwMode="auto">
            <a:xfrm>
              <a:off x="21704652" y="8654671"/>
              <a:ext cx="670922" cy="653299"/>
            </a:xfrm>
            <a:custGeom>
              <a:avLst/>
              <a:gdLst>
                <a:gd name="T0" fmla="*/ 117 w 123"/>
                <a:gd name="T1" fmla="*/ 8 h 132"/>
                <a:gd name="T2" fmla="*/ 110 w 123"/>
                <a:gd name="T3" fmla="*/ 0 h 132"/>
                <a:gd name="T4" fmla="*/ 102 w 123"/>
                <a:gd name="T5" fmla="*/ 3 h 132"/>
                <a:gd name="T6" fmla="*/ 96 w 123"/>
                <a:gd name="T7" fmla="*/ 5 h 132"/>
                <a:gd name="T8" fmla="*/ 91 w 123"/>
                <a:gd name="T9" fmla="*/ 4 h 132"/>
                <a:gd name="T10" fmla="*/ 79 w 123"/>
                <a:gd name="T11" fmla="*/ 11 h 132"/>
                <a:gd name="T12" fmla="*/ 72 w 123"/>
                <a:gd name="T13" fmla="*/ 10 h 132"/>
                <a:gd name="T14" fmla="*/ 64 w 123"/>
                <a:gd name="T15" fmla="*/ 14 h 132"/>
                <a:gd name="T16" fmla="*/ 61 w 123"/>
                <a:gd name="T17" fmla="*/ 17 h 132"/>
                <a:gd name="T18" fmla="*/ 59 w 123"/>
                <a:gd name="T19" fmla="*/ 17 h 132"/>
                <a:gd name="T20" fmla="*/ 54 w 123"/>
                <a:gd name="T21" fmla="*/ 18 h 132"/>
                <a:gd name="T22" fmla="*/ 47 w 123"/>
                <a:gd name="T23" fmla="*/ 19 h 132"/>
                <a:gd name="T24" fmla="*/ 40 w 123"/>
                <a:gd name="T25" fmla="*/ 19 h 132"/>
                <a:gd name="T26" fmla="*/ 37 w 123"/>
                <a:gd name="T27" fmla="*/ 21 h 132"/>
                <a:gd name="T28" fmla="*/ 29 w 123"/>
                <a:gd name="T29" fmla="*/ 47 h 132"/>
                <a:gd name="T30" fmla="*/ 34 w 123"/>
                <a:gd name="T31" fmla="*/ 50 h 132"/>
                <a:gd name="T32" fmla="*/ 43 w 123"/>
                <a:gd name="T33" fmla="*/ 48 h 132"/>
                <a:gd name="T34" fmla="*/ 44 w 123"/>
                <a:gd name="T35" fmla="*/ 49 h 132"/>
                <a:gd name="T36" fmla="*/ 40 w 123"/>
                <a:gd name="T37" fmla="*/ 51 h 132"/>
                <a:gd name="T38" fmla="*/ 35 w 123"/>
                <a:gd name="T39" fmla="*/ 50 h 132"/>
                <a:gd name="T40" fmla="*/ 24 w 123"/>
                <a:gd name="T41" fmla="*/ 59 h 132"/>
                <a:gd name="T42" fmla="*/ 3 w 123"/>
                <a:gd name="T43" fmla="*/ 103 h 132"/>
                <a:gd name="T44" fmla="*/ 12 w 123"/>
                <a:gd name="T45" fmla="*/ 119 h 132"/>
                <a:gd name="T46" fmla="*/ 14 w 123"/>
                <a:gd name="T47" fmla="*/ 122 h 132"/>
                <a:gd name="T48" fmla="*/ 23 w 123"/>
                <a:gd name="T49" fmla="*/ 131 h 132"/>
                <a:gd name="T50" fmla="*/ 36 w 123"/>
                <a:gd name="T51" fmla="*/ 128 h 132"/>
                <a:gd name="T52" fmla="*/ 40 w 123"/>
                <a:gd name="T53" fmla="*/ 123 h 132"/>
                <a:gd name="T54" fmla="*/ 43 w 123"/>
                <a:gd name="T55" fmla="*/ 118 h 132"/>
                <a:gd name="T56" fmla="*/ 49 w 123"/>
                <a:gd name="T57" fmla="*/ 104 h 132"/>
                <a:gd name="T58" fmla="*/ 52 w 123"/>
                <a:gd name="T59" fmla="*/ 96 h 132"/>
                <a:gd name="T60" fmla="*/ 55 w 123"/>
                <a:gd name="T61" fmla="*/ 83 h 132"/>
                <a:gd name="T62" fmla="*/ 56 w 123"/>
                <a:gd name="T63" fmla="*/ 74 h 132"/>
                <a:gd name="T64" fmla="*/ 69 w 123"/>
                <a:gd name="T65" fmla="*/ 67 h 132"/>
                <a:gd name="T66" fmla="*/ 76 w 123"/>
                <a:gd name="T67" fmla="*/ 64 h 132"/>
                <a:gd name="T68" fmla="*/ 88 w 123"/>
                <a:gd name="T69" fmla="*/ 54 h 132"/>
                <a:gd name="T70" fmla="*/ 100 w 123"/>
                <a:gd name="T71" fmla="*/ 41 h 132"/>
                <a:gd name="T72" fmla="*/ 114 w 123"/>
                <a:gd name="T73" fmla="*/ 26 h 132"/>
                <a:gd name="T74" fmla="*/ 119 w 123"/>
                <a:gd name="T75" fmla="*/ 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3" h="132">
                  <a:moveTo>
                    <a:pt x="119" y="9"/>
                  </a:moveTo>
                  <a:cubicBezTo>
                    <a:pt x="118" y="8"/>
                    <a:pt x="117" y="8"/>
                    <a:pt x="117" y="8"/>
                  </a:cubicBezTo>
                  <a:cubicBezTo>
                    <a:pt x="116" y="7"/>
                    <a:pt x="116" y="6"/>
                    <a:pt x="116" y="5"/>
                  </a:cubicBezTo>
                  <a:cubicBezTo>
                    <a:pt x="115" y="3"/>
                    <a:pt x="114" y="0"/>
                    <a:pt x="110" y="0"/>
                  </a:cubicBezTo>
                  <a:cubicBezTo>
                    <a:pt x="109" y="0"/>
                    <a:pt x="109" y="0"/>
                    <a:pt x="108" y="0"/>
                  </a:cubicBezTo>
                  <a:cubicBezTo>
                    <a:pt x="105" y="0"/>
                    <a:pt x="104" y="2"/>
                    <a:pt x="102" y="3"/>
                  </a:cubicBezTo>
                  <a:cubicBezTo>
                    <a:pt x="100" y="4"/>
                    <a:pt x="99" y="5"/>
                    <a:pt x="97" y="5"/>
                  </a:cubicBezTo>
                  <a:cubicBezTo>
                    <a:pt x="97" y="5"/>
                    <a:pt x="96" y="5"/>
                    <a:pt x="96" y="5"/>
                  </a:cubicBezTo>
                  <a:cubicBezTo>
                    <a:pt x="94" y="4"/>
                    <a:pt x="94" y="4"/>
                    <a:pt x="94" y="4"/>
                  </a:cubicBezTo>
                  <a:cubicBezTo>
                    <a:pt x="93" y="4"/>
                    <a:pt x="92" y="4"/>
                    <a:pt x="91" y="4"/>
                  </a:cubicBezTo>
                  <a:cubicBezTo>
                    <a:pt x="88" y="4"/>
                    <a:pt x="85" y="5"/>
                    <a:pt x="83" y="8"/>
                  </a:cubicBezTo>
                  <a:cubicBezTo>
                    <a:pt x="80" y="11"/>
                    <a:pt x="80" y="11"/>
                    <a:pt x="79" y="11"/>
                  </a:cubicBezTo>
                  <a:cubicBezTo>
                    <a:pt x="78" y="11"/>
                    <a:pt x="77" y="11"/>
                    <a:pt x="76" y="10"/>
                  </a:cubicBezTo>
                  <a:cubicBezTo>
                    <a:pt x="74" y="10"/>
                    <a:pt x="73" y="10"/>
                    <a:pt x="72" y="10"/>
                  </a:cubicBezTo>
                  <a:cubicBezTo>
                    <a:pt x="69" y="10"/>
                    <a:pt x="67" y="10"/>
                    <a:pt x="66" y="12"/>
                  </a:cubicBezTo>
                  <a:cubicBezTo>
                    <a:pt x="65" y="13"/>
                    <a:pt x="64" y="14"/>
                    <a:pt x="64" y="14"/>
                  </a:cubicBezTo>
                  <a:cubicBezTo>
                    <a:pt x="64" y="15"/>
                    <a:pt x="64" y="15"/>
                    <a:pt x="63" y="15"/>
                  </a:cubicBezTo>
                  <a:cubicBezTo>
                    <a:pt x="63" y="16"/>
                    <a:pt x="62" y="17"/>
                    <a:pt x="61" y="17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59" y="17"/>
                    <a:pt x="59" y="17"/>
                    <a:pt x="59" y="17"/>
                  </a:cubicBezTo>
                  <a:cubicBezTo>
                    <a:pt x="58" y="17"/>
                    <a:pt x="57" y="17"/>
                    <a:pt x="57" y="18"/>
                  </a:cubicBezTo>
                  <a:cubicBezTo>
                    <a:pt x="56" y="18"/>
                    <a:pt x="55" y="18"/>
                    <a:pt x="54" y="18"/>
                  </a:cubicBezTo>
                  <a:cubicBezTo>
                    <a:pt x="53" y="19"/>
                    <a:pt x="52" y="19"/>
                    <a:pt x="52" y="19"/>
                  </a:cubicBezTo>
                  <a:cubicBezTo>
                    <a:pt x="50" y="19"/>
                    <a:pt x="48" y="19"/>
                    <a:pt x="47" y="19"/>
                  </a:cubicBezTo>
                  <a:cubicBezTo>
                    <a:pt x="45" y="19"/>
                    <a:pt x="43" y="19"/>
                    <a:pt x="42" y="19"/>
                  </a:cubicBezTo>
                  <a:cubicBezTo>
                    <a:pt x="41" y="19"/>
                    <a:pt x="40" y="19"/>
                    <a:pt x="40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7" y="21"/>
                    <a:pt x="37" y="21"/>
                    <a:pt x="37" y="21"/>
                  </a:cubicBezTo>
                  <a:cubicBezTo>
                    <a:pt x="34" y="27"/>
                    <a:pt x="33" y="33"/>
                    <a:pt x="32" y="38"/>
                  </a:cubicBezTo>
                  <a:cubicBezTo>
                    <a:pt x="31" y="41"/>
                    <a:pt x="30" y="44"/>
                    <a:pt x="29" y="47"/>
                  </a:cubicBezTo>
                  <a:cubicBezTo>
                    <a:pt x="27" y="54"/>
                    <a:pt x="27" y="54"/>
                    <a:pt x="27" y="54"/>
                  </a:cubicBezTo>
                  <a:cubicBezTo>
                    <a:pt x="34" y="50"/>
                    <a:pt x="34" y="50"/>
                    <a:pt x="34" y="50"/>
                  </a:cubicBezTo>
                  <a:cubicBezTo>
                    <a:pt x="35" y="49"/>
                    <a:pt x="37" y="49"/>
                    <a:pt x="38" y="49"/>
                  </a:cubicBezTo>
                  <a:cubicBezTo>
                    <a:pt x="40" y="48"/>
                    <a:pt x="41" y="48"/>
                    <a:pt x="43" y="48"/>
                  </a:cubicBezTo>
                  <a:cubicBezTo>
                    <a:pt x="44" y="47"/>
                    <a:pt x="44" y="47"/>
                    <a:pt x="45" y="46"/>
                  </a:cubicBezTo>
                  <a:cubicBezTo>
                    <a:pt x="45" y="47"/>
                    <a:pt x="44" y="48"/>
                    <a:pt x="44" y="49"/>
                  </a:cubicBezTo>
                  <a:cubicBezTo>
                    <a:pt x="43" y="50"/>
                    <a:pt x="43" y="51"/>
                    <a:pt x="42" y="52"/>
                  </a:cubicBezTo>
                  <a:cubicBezTo>
                    <a:pt x="42" y="52"/>
                    <a:pt x="41" y="52"/>
                    <a:pt x="40" y="51"/>
                  </a:cubicBezTo>
                  <a:cubicBezTo>
                    <a:pt x="39" y="51"/>
                    <a:pt x="37" y="50"/>
                    <a:pt x="36" y="50"/>
                  </a:cubicBezTo>
                  <a:cubicBezTo>
                    <a:pt x="35" y="50"/>
                    <a:pt x="35" y="50"/>
                    <a:pt x="35" y="50"/>
                  </a:cubicBezTo>
                  <a:cubicBezTo>
                    <a:pt x="30" y="51"/>
                    <a:pt x="28" y="55"/>
                    <a:pt x="26" y="57"/>
                  </a:cubicBezTo>
                  <a:cubicBezTo>
                    <a:pt x="25" y="58"/>
                    <a:pt x="25" y="59"/>
                    <a:pt x="24" y="59"/>
                  </a:cubicBezTo>
                  <a:cubicBezTo>
                    <a:pt x="23" y="60"/>
                    <a:pt x="22" y="62"/>
                    <a:pt x="21" y="63"/>
                  </a:cubicBezTo>
                  <a:cubicBezTo>
                    <a:pt x="12" y="74"/>
                    <a:pt x="0" y="88"/>
                    <a:pt x="3" y="103"/>
                  </a:cubicBezTo>
                  <a:cubicBezTo>
                    <a:pt x="4" y="107"/>
                    <a:pt x="6" y="111"/>
                    <a:pt x="9" y="116"/>
                  </a:cubicBezTo>
                  <a:cubicBezTo>
                    <a:pt x="10" y="117"/>
                    <a:pt x="11" y="118"/>
                    <a:pt x="12" y="119"/>
                  </a:cubicBezTo>
                  <a:cubicBezTo>
                    <a:pt x="12" y="120"/>
                    <a:pt x="13" y="120"/>
                    <a:pt x="13" y="121"/>
                  </a:cubicBezTo>
                  <a:cubicBezTo>
                    <a:pt x="13" y="121"/>
                    <a:pt x="14" y="121"/>
                    <a:pt x="14" y="122"/>
                  </a:cubicBezTo>
                  <a:cubicBezTo>
                    <a:pt x="14" y="123"/>
                    <a:pt x="14" y="124"/>
                    <a:pt x="15" y="125"/>
                  </a:cubicBezTo>
                  <a:cubicBezTo>
                    <a:pt x="17" y="128"/>
                    <a:pt x="21" y="130"/>
                    <a:pt x="23" y="131"/>
                  </a:cubicBezTo>
                  <a:cubicBezTo>
                    <a:pt x="25" y="132"/>
                    <a:pt x="26" y="132"/>
                    <a:pt x="28" y="132"/>
                  </a:cubicBezTo>
                  <a:cubicBezTo>
                    <a:pt x="31" y="132"/>
                    <a:pt x="34" y="131"/>
                    <a:pt x="36" y="128"/>
                  </a:cubicBezTo>
                  <a:cubicBezTo>
                    <a:pt x="37" y="127"/>
                    <a:pt x="38" y="126"/>
                    <a:pt x="39" y="125"/>
                  </a:cubicBezTo>
                  <a:cubicBezTo>
                    <a:pt x="39" y="124"/>
                    <a:pt x="39" y="123"/>
                    <a:pt x="40" y="123"/>
                  </a:cubicBezTo>
                  <a:cubicBezTo>
                    <a:pt x="40" y="122"/>
                    <a:pt x="41" y="122"/>
                    <a:pt x="41" y="121"/>
                  </a:cubicBezTo>
                  <a:cubicBezTo>
                    <a:pt x="42" y="120"/>
                    <a:pt x="43" y="119"/>
                    <a:pt x="43" y="118"/>
                  </a:cubicBezTo>
                  <a:cubicBezTo>
                    <a:pt x="45" y="115"/>
                    <a:pt x="47" y="111"/>
                    <a:pt x="49" y="106"/>
                  </a:cubicBezTo>
                  <a:cubicBezTo>
                    <a:pt x="49" y="105"/>
                    <a:pt x="49" y="105"/>
                    <a:pt x="49" y="104"/>
                  </a:cubicBezTo>
                  <a:cubicBezTo>
                    <a:pt x="50" y="102"/>
                    <a:pt x="50" y="100"/>
                    <a:pt x="51" y="98"/>
                  </a:cubicBezTo>
                  <a:cubicBezTo>
                    <a:pt x="52" y="97"/>
                    <a:pt x="52" y="97"/>
                    <a:pt x="52" y="96"/>
                  </a:cubicBezTo>
                  <a:cubicBezTo>
                    <a:pt x="54" y="94"/>
                    <a:pt x="55" y="91"/>
                    <a:pt x="55" y="88"/>
                  </a:cubicBezTo>
                  <a:cubicBezTo>
                    <a:pt x="55" y="86"/>
                    <a:pt x="55" y="84"/>
                    <a:pt x="55" y="83"/>
                  </a:cubicBezTo>
                  <a:cubicBezTo>
                    <a:pt x="54" y="82"/>
                    <a:pt x="54" y="82"/>
                    <a:pt x="54" y="81"/>
                  </a:cubicBezTo>
                  <a:cubicBezTo>
                    <a:pt x="54" y="77"/>
                    <a:pt x="54" y="75"/>
                    <a:pt x="56" y="74"/>
                  </a:cubicBezTo>
                  <a:cubicBezTo>
                    <a:pt x="60" y="72"/>
                    <a:pt x="63" y="70"/>
                    <a:pt x="66" y="68"/>
                  </a:cubicBezTo>
                  <a:cubicBezTo>
                    <a:pt x="69" y="67"/>
                    <a:pt x="69" y="67"/>
                    <a:pt x="69" y="67"/>
                  </a:cubicBezTo>
                  <a:cubicBezTo>
                    <a:pt x="70" y="66"/>
                    <a:pt x="71" y="66"/>
                    <a:pt x="72" y="65"/>
                  </a:cubicBezTo>
                  <a:cubicBezTo>
                    <a:pt x="74" y="65"/>
                    <a:pt x="75" y="65"/>
                    <a:pt x="76" y="64"/>
                  </a:cubicBezTo>
                  <a:cubicBezTo>
                    <a:pt x="79" y="63"/>
                    <a:pt x="82" y="60"/>
                    <a:pt x="84" y="58"/>
                  </a:cubicBezTo>
                  <a:cubicBezTo>
                    <a:pt x="85" y="56"/>
                    <a:pt x="87" y="55"/>
                    <a:pt x="88" y="54"/>
                  </a:cubicBezTo>
                  <a:cubicBezTo>
                    <a:pt x="92" y="51"/>
                    <a:pt x="94" y="48"/>
                    <a:pt x="97" y="44"/>
                  </a:cubicBezTo>
                  <a:cubicBezTo>
                    <a:pt x="98" y="43"/>
                    <a:pt x="99" y="42"/>
                    <a:pt x="100" y="41"/>
                  </a:cubicBezTo>
                  <a:cubicBezTo>
                    <a:pt x="104" y="36"/>
                    <a:pt x="108" y="31"/>
                    <a:pt x="113" y="27"/>
                  </a:cubicBezTo>
                  <a:cubicBezTo>
                    <a:pt x="113" y="27"/>
                    <a:pt x="114" y="26"/>
                    <a:pt x="114" y="26"/>
                  </a:cubicBezTo>
                  <a:cubicBezTo>
                    <a:pt x="119" y="21"/>
                    <a:pt x="123" y="18"/>
                    <a:pt x="123" y="14"/>
                  </a:cubicBezTo>
                  <a:cubicBezTo>
                    <a:pt x="123" y="11"/>
                    <a:pt x="120" y="10"/>
                    <a:pt x="119" y="9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9" name="Freeform 58"/>
            <p:cNvSpPr>
              <a:spLocks/>
            </p:cNvSpPr>
            <p:nvPr/>
          </p:nvSpPr>
          <p:spPr bwMode="auto">
            <a:xfrm>
              <a:off x="22037035" y="8301889"/>
              <a:ext cx="82070" cy="128793"/>
            </a:xfrm>
            <a:custGeom>
              <a:avLst/>
              <a:gdLst>
                <a:gd name="T0" fmla="*/ 14 w 15"/>
                <a:gd name="T1" fmla="*/ 2 h 26"/>
                <a:gd name="T2" fmla="*/ 10 w 15"/>
                <a:gd name="T3" fmla="*/ 0 h 26"/>
                <a:gd name="T4" fmla="*/ 9 w 15"/>
                <a:gd name="T5" fmla="*/ 0 h 26"/>
                <a:gd name="T6" fmla="*/ 0 w 15"/>
                <a:gd name="T7" fmla="*/ 20 h 26"/>
                <a:gd name="T8" fmla="*/ 5 w 15"/>
                <a:gd name="T9" fmla="*/ 26 h 26"/>
                <a:gd name="T10" fmla="*/ 6 w 15"/>
                <a:gd name="T11" fmla="*/ 26 h 26"/>
                <a:gd name="T12" fmla="*/ 6 w 15"/>
                <a:gd name="T13" fmla="*/ 26 h 26"/>
                <a:gd name="T14" fmla="*/ 9 w 15"/>
                <a:gd name="T15" fmla="*/ 20 h 26"/>
                <a:gd name="T16" fmla="*/ 9 w 15"/>
                <a:gd name="T17" fmla="*/ 20 h 26"/>
                <a:gd name="T18" fmla="*/ 12 w 15"/>
                <a:gd name="T19" fmla="*/ 11 h 26"/>
                <a:gd name="T20" fmla="*/ 12 w 15"/>
                <a:gd name="T21" fmla="*/ 10 h 26"/>
                <a:gd name="T22" fmla="*/ 14 w 15"/>
                <a:gd name="T2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" h="26">
                  <a:moveTo>
                    <a:pt x="14" y="2"/>
                  </a:moveTo>
                  <a:cubicBezTo>
                    <a:pt x="14" y="2"/>
                    <a:pt x="13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3" y="1"/>
                    <a:pt x="0" y="15"/>
                    <a:pt x="0" y="20"/>
                  </a:cubicBezTo>
                  <a:cubicBezTo>
                    <a:pt x="1" y="26"/>
                    <a:pt x="4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10" y="26"/>
                    <a:pt x="10" y="22"/>
                    <a:pt x="9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0" y="16"/>
                    <a:pt x="10" y="14"/>
                    <a:pt x="12" y="11"/>
                  </a:cubicBezTo>
                  <a:cubicBezTo>
                    <a:pt x="12" y="11"/>
                    <a:pt x="12" y="11"/>
                    <a:pt x="12" y="10"/>
                  </a:cubicBezTo>
                  <a:cubicBezTo>
                    <a:pt x="13" y="8"/>
                    <a:pt x="15" y="5"/>
                    <a:pt x="14" y="2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0" name="Freeform 59"/>
            <p:cNvSpPr>
              <a:spLocks/>
            </p:cNvSpPr>
            <p:nvPr/>
          </p:nvSpPr>
          <p:spPr bwMode="auto">
            <a:xfrm>
              <a:off x="22297608" y="7265943"/>
              <a:ext cx="1003305" cy="940751"/>
            </a:xfrm>
            <a:custGeom>
              <a:avLst/>
              <a:gdLst>
                <a:gd name="T0" fmla="*/ 177 w 184"/>
                <a:gd name="T1" fmla="*/ 104 h 190"/>
                <a:gd name="T2" fmla="*/ 165 w 184"/>
                <a:gd name="T3" fmla="*/ 100 h 190"/>
                <a:gd name="T4" fmla="*/ 161 w 184"/>
                <a:gd name="T5" fmla="*/ 107 h 190"/>
                <a:gd name="T6" fmla="*/ 157 w 184"/>
                <a:gd name="T7" fmla="*/ 81 h 190"/>
                <a:gd name="T8" fmla="*/ 146 w 184"/>
                <a:gd name="T9" fmla="*/ 89 h 190"/>
                <a:gd name="T10" fmla="*/ 143 w 184"/>
                <a:gd name="T11" fmla="*/ 97 h 190"/>
                <a:gd name="T12" fmla="*/ 141 w 184"/>
                <a:gd name="T13" fmla="*/ 97 h 190"/>
                <a:gd name="T14" fmla="*/ 142 w 184"/>
                <a:gd name="T15" fmla="*/ 84 h 190"/>
                <a:gd name="T16" fmla="*/ 131 w 184"/>
                <a:gd name="T17" fmla="*/ 71 h 190"/>
                <a:gd name="T18" fmla="*/ 128 w 184"/>
                <a:gd name="T19" fmla="*/ 81 h 190"/>
                <a:gd name="T20" fmla="*/ 128 w 184"/>
                <a:gd name="T21" fmla="*/ 85 h 190"/>
                <a:gd name="T22" fmla="*/ 120 w 184"/>
                <a:gd name="T23" fmla="*/ 74 h 190"/>
                <a:gd name="T24" fmla="*/ 116 w 184"/>
                <a:gd name="T25" fmla="*/ 56 h 190"/>
                <a:gd name="T26" fmla="*/ 91 w 184"/>
                <a:gd name="T27" fmla="*/ 59 h 190"/>
                <a:gd name="T28" fmla="*/ 81 w 184"/>
                <a:gd name="T29" fmla="*/ 71 h 190"/>
                <a:gd name="T30" fmla="*/ 73 w 184"/>
                <a:gd name="T31" fmla="*/ 69 h 190"/>
                <a:gd name="T32" fmla="*/ 63 w 184"/>
                <a:gd name="T33" fmla="*/ 73 h 190"/>
                <a:gd name="T34" fmla="*/ 56 w 184"/>
                <a:gd name="T35" fmla="*/ 73 h 190"/>
                <a:gd name="T36" fmla="*/ 58 w 184"/>
                <a:gd name="T37" fmla="*/ 67 h 190"/>
                <a:gd name="T38" fmla="*/ 48 w 184"/>
                <a:gd name="T39" fmla="*/ 56 h 190"/>
                <a:gd name="T40" fmla="*/ 40 w 184"/>
                <a:gd name="T41" fmla="*/ 62 h 190"/>
                <a:gd name="T42" fmla="*/ 34 w 184"/>
                <a:gd name="T43" fmla="*/ 76 h 190"/>
                <a:gd name="T44" fmla="*/ 31 w 184"/>
                <a:gd name="T45" fmla="*/ 57 h 190"/>
                <a:gd name="T46" fmla="*/ 30 w 184"/>
                <a:gd name="T47" fmla="*/ 35 h 190"/>
                <a:gd name="T48" fmla="*/ 31 w 184"/>
                <a:gd name="T49" fmla="*/ 12 h 190"/>
                <a:gd name="T50" fmla="*/ 30 w 184"/>
                <a:gd name="T51" fmla="*/ 1 h 190"/>
                <a:gd name="T52" fmla="*/ 17 w 184"/>
                <a:gd name="T53" fmla="*/ 5 h 190"/>
                <a:gd name="T54" fmla="*/ 12 w 184"/>
                <a:gd name="T55" fmla="*/ 7 h 190"/>
                <a:gd name="T56" fmla="*/ 5 w 184"/>
                <a:gd name="T57" fmla="*/ 18 h 190"/>
                <a:gd name="T58" fmla="*/ 0 w 184"/>
                <a:gd name="T59" fmla="*/ 35 h 190"/>
                <a:gd name="T60" fmla="*/ 3 w 184"/>
                <a:gd name="T61" fmla="*/ 47 h 190"/>
                <a:gd name="T62" fmla="*/ 2 w 184"/>
                <a:gd name="T63" fmla="*/ 64 h 190"/>
                <a:gd name="T64" fmla="*/ 3 w 184"/>
                <a:gd name="T65" fmla="*/ 79 h 190"/>
                <a:gd name="T66" fmla="*/ 7 w 184"/>
                <a:gd name="T67" fmla="*/ 102 h 190"/>
                <a:gd name="T68" fmla="*/ 15 w 184"/>
                <a:gd name="T69" fmla="*/ 119 h 190"/>
                <a:gd name="T70" fmla="*/ 8 w 184"/>
                <a:gd name="T71" fmla="*/ 123 h 190"/>
                <a:gd name="T72" fmla="*/ 13 w 184"/>
                <a:gd name="T73" fmla="*/ 147 h 190"/>
                <a:gd name="T74" fmla="*/ 11 w 184"/>
                <a:gd name="T75" fmla="*/ 161 h 190"/>
                <a:gd name="T76" fmla="*/ 21 w 184"/>
                <a:gd name="T77" fmla="*/ 190 h 190"/>
                <a:gd name="T78" fmla="*/ 52 w 184"/>
                <a:gd name="T79" fmla="*/ 169 h 190"/>
                <a:gd name="T80" fmla="*/ 83 w 184"/>
                <a:gd name="T81" fmla="*/ 152 h 190"/>
                <a:gd name="T82" fmla="*/ 87 w 184"/>
                <a:gd name="T83" fmla="*/ 147 h 190"/>
                <a:gd name="T84" fmla="*/ 93 w 184"/>
                <a:gd name="T85" fmla="*/ 144 h 190"/>
                <a:gd name="T86" fmla="*/ 100 w 184"/>
                <a:gd name="T87" fmla="*/ 151 h 190"/>
                <a:gd name="T88" fmla="*/ 111 w 184"/>
                <a:gd name="T89" fmla="*/ 146 h 190"/>
                <a:gd name="T90" fmla="*/ 105 w 184"/>
                <a:gd name="T91" fmla="*/ 159 h 190"/>
                <a:gd name="T92" fmla="*/ 105 w 184"/>
                <a:gd name="T93" fmla="*/ 169 h 190"/>
                <a:gd name="T94" fmla="*/ 119 w 184"/>
                <a:gd name="T95" fmla="*/ 166 h 190"/>
                <a:gd name="T96" fmla="*/ 128 w 184"/>
                <a:gd name="T97" fmla="*/ 159 h 190"/>
                <a:gd name="T98" fmla="*/ 129 w 184"/>
                <a:gd name="T99" fmla="*/ 147 h 190"/>
                <a:gd name="T100" fmla="*/ 135 w 184"/>
                <a:gd name="T101" fmla="*/ 122 h 190"/>
                <a:gd name="T102" fmla="*/ 145 w 184"/>
                <a:gd name="T103" fmla="*/ 137 h 190"/>
                <a:gd name="T104" fmla="*/ 160 w 184"/>
                <a:gd name="T105" fmla="*/ 138 h 190"/>
                <a:gd name="T106" fmla="*/ 168 w 184"/>
                <a:gd name="T107" fmla="*/ 147 h 190"/>
                <a:gd name="T108" fmla="*/ 176 w 184"/>
                <a:gd name="T109" fmla="*/ 14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84" h="190">
                  <a:moveTo>
                    <a:pt x="181" y="128"/>
                  </a:moveTo>
                  <a:cubicBezTo>
                    <a:pt x="181" y="127"/>
                    <a:pt x="180" y="126"/>
                    <a:pt x="180" y="126"/>
                  </a:cubicBezTo>
                  <a:cubicBezTo>
                    <a:pt x="177" y="119"/>
                    <a:pt x="177" y="114"/>
                    <a:pt x="177" y="106"/>
                  </a:cubicBezTo>
                  <a:cubicBezTo>
                    <a:pt x="177" y="104"/>
                    <a:pt x="177" y="104"/>
                    <a:pt x="177" y="104"/>
                  </a:cubicBezTo>
                  <a:cubicBezTo>
                    <a:pt x="178" y="101"/>
                    <a:pt x="178" y="98"/>
                    <a:pt x="178" y="96"/>
                  </a:cubicBezTo>
                  <a:cubicBezTo>
                    <a:pt x="178" y="95"/>
                    <a:pt x="177" y="92"/>
                    <a:pt x="172" y="92"/>
                  </a:cubicBezTo>
                  <a:cubicBezTo>
                    <a:pt x="172" y="92"/>
                    <a:pt x="168" y="92"/>
                    <a:pt x="167" y="94"/>
                  </a:cubicBezTo>
                  <a:cubicBezTo>
                    <a:pt x="165" y="95"/>
                    <a:pt x="165" y="98"/>
                    <a:pt x="165" y="100"/>
                  </a:cubicBezTo>
                  <a:cubicBezTo>
                    <a:pt x="165" y="100"/>
                    <a:pt x="165" y="100"/>
                    <a:pt x="164" y="101"/>
                  </a:cubicBezTo>
                  <a:cubicBezTo>
                    <a:pt x="164" y="102"/>
                    <a:pt x="164" y="102"/>
                    <a:pt x="164" y="102"/>
                  </a:cubicBezTo>
                  <a:cubicBezTo>
                    <a:pt x="164" y="106"/>
                    <a:pt x="163" y="107"/>
                    <a:pt x="162" y="107"/>
                  </a:cubicBezTo>
                  <a:cubicBezTo>
                    <a:pt x="161" y="107"/>
                    <a:pt x="161" y="107"/>
                    <a:pt x="161" y="107"/>
                  </a:cubicBezTo>
                  <a:cubicBezTo>
                    <a:pt x="159" y="105"/>
                    <a:pt x="159" y="99"/>
                    <a:pt x="159" y="97"/>
                  </a:cubicBezTo>
                  <a:cubicBezTo>
                    <a:pt x="159" y="91"/>
                    <a:pt x="159" y="91"/>
                    <a:pt x="159" y="91"/>
                  </a:cubicBezTo>
                  <a:cubicBezTo>
                    <a:pt x="159" y="91"/>
                    <a:pt x="159" y="90"/>
                    <a:pt x="159" y="90"/>
                  </a:cubicBezTo>
                  <a:cubicBezTo>
                    <a:pt x="160" y="87"/>
                    <a:pt x="160" y="83"/>
                    <a:pt x="157" y="81"/>
                  </a:cubicBezTo>
                  <a:cubicBezTo>
                    <a:pt x="156" y="81"/>
                    <a:pt x="155" y="80"/>
                    <a:pt x="154" y="80"/>
                  </a:cubicBezTo>
                  <a:cubicBezTo>
                    <a:pt x="152" y="80"/>
                    <a:pt x="150" y="81"/>
                    <a:pt x="149" y="82"/>
                  </a:cubicBezTo>
                  <a:cubicBezTo>
                    <a:pt x="147" y="83"/>
                    <a:pt x="147" y="86"/>
                    <a:pt x="146" y="87"/>
                  </a:cubicBezTo>
                  <a:cubicBezTo>
                    <a:pt x="146" y="88"/>
                    <a:pt x="146" y="89"/>
                    <a:pt x="146" y="89"/>
                  </a:cubicBezTo>
                  <a:cubicBezTo>
                    <a:pt x="146" y="90"/>
                    <a:pt x="146" y="90"/>
                    <a:pt x="146" y="90"/>
                  </a:cubicBezTo>
                  <a:cubicBezTo>
                    <a:pt x="146" y="90"/>
                    <a:pt x="145" y="90"/>
                    <a:pt x="145" y="91"/>
                  </a:cubicBezTo>
                  <a:cubicBezTo>
                    <a:pt x="145" y="91"/>
                    <a:pt x="144" y="92"/>
                    <a:pt x="144" y="93"/>
                  </a:cubicBezTo>
                  <a:cubicBezTo>
                    <a:pt x="143" y="94"/>
                    <a:pt x="143" y="96"/>
                    <a:pt x="143" y="97"/>
                  </a:cubicBezTo>
                  <a:cubicBezTo>
                    <a:pt x="143" y="100"/>
                    <a:pt x="144" y="102"/>
                    <a:pt x="145" y="105"/>
                  </a:cubicBezTo>
                  <a:cubicBezTo>
                    <a:pt x="145" y="104"/>
                    <a:pt x="145" y="104"/>
                    <a:pt x="144" y="104"/>
                  </a:cubicBezTo>
                  <a:cubicBezTo>
                    <a:pt x="143" y="102"/>
                    <a:pt x="142" y="100"/>
                    <a:pt x="141" y="98"/>
                  </a:cubicBezTo>
                  <a:cubicBezTo>
                    <a:pt x="141" y="98"/>
                    <a:pt x="141" y="98"/>
                    <a:pt x="141" y="97"/>
                  </a:cubicBezTo>
                  <a:cubicBezTo>
                    <a:pt x="141" y="97"/>
                    <a:pt x="141" y="96"/>
                    <a:pt x="141" y="96"/>
                  </a:cubicBezTo>
                  <a:cubicBezTo>
                    <a:pt x="141" y="95"/>
                    <a:pt x="141" y="94"/>
                    <a:pt x="141" y="94"/>
                  </a:cubicBezTo>
                  <a:cubicBezTo>
                    <a:pt x="141" y="93"/>
                    <a:pt x="140" y="93"/>
                    <a:pt x="140" y="92"/>
                  </a:cubicBezTo>
                  <a:cubicBezTo>
                    <a:pt x="140" y="90"/>
                    <a:pt x="141" y="87"/>
                    <a:pt x="142" y="84"/>
                  </a:cubicBezTo>
                  <a:cubicBezTo>
                    <a:pt x="143" y="83"/>
                    <a:pt x="143" y="83"/>
                    <a:pt x="143" y="83"/>
                  </a:cubicBezTo>
                  <a:cubicBezTo>
                    <a:pt x="145" y="77"/>
                    <a:pt x="147" y="72"/>
                    <a:pt x="145" y="68"/>
                  </a:cubicBezTo>
                  <a:cubicBezTo>
                    <a:pt x="144" y="67"/>
                    <a:pt x="143" y="66"/>
                    <a:pt x="140" y="66"/>
                  </a:cubicBezTo>
                  <a:cubicBezTo>
                    <a:pt x="137" y="66"/>
                    <a:pt x="133" y="68"/>
                    <a:pt x="131" y="71"/>
                  </a:cubicBezTo>
                  <a:cubicBezTo>
                    <a:pt x="130" y="73"/>
                    <a:pt x="130" y="75"/>
                    <a:pt x="130" y="76"/>
                  </a:cubicBezTo>
                  <a:cubicBezTo>
                    <a:pt x="129" y="77"/>
                    <a:pt x="129" y="78"/>
                    <a:pt x="129" y="78"/>
                  </a:cubicBezTo>
                  <a:cubicBezTo>
                    <a:pt x="129" y="79"/>
                    <a:pt x="129" y="79"/>
                    <a:pt x="129" y="79"/>
                  </a:cubicBezTo>
                  <a:cubicBezTo>
                    <a:pt x="129" y="80"/>
                    <a:pt x="128" y="80"/>
                    <a:pt x="128" y="81"/>
                  </a:cubicBezTo>
                  <a:cubicBezTo>
                    <a:pt x="128" y="82"/>
                    <a:pt x="128" y="83"/>
                    <a:pt x="128" y="84"/>
                  </a:cubicBezTo>
                  <a:cubicBezTo>
                    <a:pt x="128" y="84"/>
                    <a:pt x="128" y="84"/>
                    <a:pt x="128" y="84"/>
                  </a:cubicBezTo>
                  <a:cubicBezTo>
                    <a:pt x="128" y="84"/>
                    <a:pt x="128" y="84"/>
                    <a:pt x="128" y="84"/>
                  </a:cubicBezTo>
                  <a:cubicBezTo>
                    <a:pt x="128" y="85"/>
                    <a:pt x="128" y="85"/>
                    <a:pt x="128" y="85"/>
                  </a:cubicBezTo>
                  <a:cubicBezTo>
                    <a:pt x="128" y="84"/>
                    <a:pt x="128" y="83"/>
                    <a:pt x="128" y="83"/>
                  </a:cubicBezTo>
                  <a:cubicBezTo>
                    <a:pt x="127" y="80"/>
                    <a:pt x="127" y="78"/>
                    <a:pt x="125" y="76"/>
                  </a:cubicBezTo>
                  <a:cubicBezTo>
                    <a:pt x="124" y="74"/>
                    <a:pt x="122" y="74"/>
                    <a:pt x="121" y="74"/>
                  </a:cubicBezTo>
                  <a:cubicBezTo>
                    <a:pt x="120" y="74"/>
                    <a:pt x="120" y="74"/>
                    <a:pt x="120" y="74"/>
                  </a:cubicBezTo>
                  <a:cubicBezTo>
                    <a:pt x="117" y="73"/>
                    <a:pt x="117" y="72"/>
                    <a:pt x="116" y="67"/>
                  </a:cubicBezTo>
                  <a:cubicBezTo>
                    <a:pt x="116" y="67"/>
                    <a:pt x="116" y="67"/>
                    <a:pt x="116" y="67"/>
                  </a:cubicBezTo>
                  <a:cubicBezTo>
                    <a:pt x="116" y="65"/>
                    <a:pt x="116" y="64"/>
                    <a:pt x="116" y="63"/>
                  </a:cubicBezTo>
                  <a:cubicBezTo>
                    <a:pt x="116" y="61"/>
                    <a:pt x="117" y="59"/>
                    <a:pt x="116" y="56"/>
                  </a:cubicBezTo>
                  <a:cubicBezTo>
                    <a:pt x="113" y="51"/>
                    <a:pt x="108" y="50"/>
                    <a:pt x="104" y="50"/>
                  </a:cubicBezTo>
                  <a:cubicBezTo>
                    <a:pt x="104" y="50"/>
                    <a:pt x="104" y="50"/>
                    <a:pt x="103" y="50"/>
                  </a:cubicBezTo>
                  <a:cubicBezTo>
                    <a:pt x="98" y="50"/>
                    <a:pt x="95" y="52"/>
                    <a:pt x="93" y="56"/>
                  </a:cubicBezTo>
                  <a:cubicBezTo>
                    <a:pt x="92" y="58"/>
                    <a:pt x="92" y="59"/>
                    <a:pt x="91" y="59"/>
                  </a:cubicBezTo>
                  <a:cubicBezTo>
                    <a:pt x="90" y="59"/>
                    <a:pt x="90" y="59"/>
                    <a:pt x="90" y="60"/>
                  </a:cubicBezTo>
                  <a:cubicBezTo>
                    <a:pt x="88" y="60"/>
                    <a:pt x="86" y="60"/>
                    <a:pt x="84" y="62"/>
                  </a:cubicBezTo>
                  <a:cubicBezTo>
                    <a:pt x="82" y="64"/>
                    <a:pt x="82" y="67"/>
                    <a:pt x="81" y="69"/>
                  </a:cubicBezTo>
                  <a:cubicBezTo>
                    <a:pt x="81" y="70"/>
                    <a:pt x="81" y="71"/>
                    <a:pt x="81" y="71"/>
                  </a:cubicBezTo>
                  <a:cubicBezTo>
                    <a:pt x="80" y="72"/>
                    <a:pt x="80" y="73"/>
                    <a:pt x="80" y="73"/>
                  </a:cubicBezTo>
                  <a:cubicBezTo>
                    <a:pt x="80" y="73"/>
                    <a:pt x="79" y="73"/>
                    <a:pt x="79" y="72"/>
                  </a:cubicBezTo>
                  <a:cubicBezTo>
                    <a:pt x="78" y="71"/>
                    <a:pt x="76" y="70"/>
                    <a:pt x="74" y="69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2" y="69"/>
                    <a:pt x="70" y="70"/>
                    <a:pt x="69" y="71"/>
                  </a:cubicBezTo>
                  <a:cubicBezTo>
                    <a:pt x="69" y="71"/>
                    <a:pt x="69" y="71"/>
                    <a:pt x="69" y="71"/>
                  </a:cubicBezTo>
                  <a:cubicBezTo>
                    <a:pt x="68" y="71"/>
                    <a:pt x="67" y="72"/>
                    <a:pt x="67" y="72"/>
                  </a:cubicBezTo>
                  <a:cubicBezTo>
                    <a:pt x="65" y="72"/>
                    <a:pt x="64" y="73"/>
                    <a:pt x="63" y="73"/>
                  </a:cubicBezTo>
                  <a:cubicBezTo>
                    <a:pt x="62" y="74"/>
                    <a:pt x="61" y="74"/>
                    <a:pt x="60" y="74"/>
                  </a:cubicBezTo>
                  <a:cubicBezTo>
                    <a:pt x="60" y="74"/>
                    <a:pt x="59" y="74"/>
                    <a:pt x="59" y="74"/>
                  </a:cubicBezTo>
                  <a:cubicBezTo>
                    <a:pt x="58" y="74"/>
                    <a:pt x="57" y="74"/>
                    <a:pt x="56" y="73"/>
                  </a:cubicBezTo>
                  <a:cubicBezTo>
                    <a:pt x="56" y="73"/>
                    <a:pt x="56" y="73"/>
                    <a:pt x="56" y="73"/>
                  </a:cubicBezTo>
                  <a:cubicBezTo>
                    <a:pt x="56" y="73"/>
                    <a:pt x="56" y="73"/>
                    <a:pt x="56" y="73"/>
                  </a:cubicBezTo>
                  <a:cubicBezTo>
                    <a:pt x="56" y="72"/>
                    <a:pt x="56" y="71"/>
                    <a:pt x="56" y="70"/>
                  </a:cubicBezTo>
                  <a:cubicBezTo>
                    <a:pt x="57" y="70"/>
                    <a:pt x="57" y="69"/>
                    <a:pt x="57" y="69"/>
                  </a:cubicBezTo>
                  <a:cubicBezTo>
                    <a:pt x="57" y="68"/>
                    <a:pt x="57" y="68"/>
                    <a:pt x="58" y="67"/>
                  </a:cubicBezTo>
                  <a:cubicBezTo>
                    <a:pt x="59" y="65"/>
                    <a:pt x="61" y="60"/>
                    <a:pt x="57" y="57"/>
                  </a:cubicBezTo>
                  <a:cubicBezTo>
                    <a:pt x="55" y="56"/>
                    <a:pt x="53" y="56"/>
                    <a:pt x="52" y="56"/>
                  </a:cubicBezTo>
                  <a:cubicBezTo>
                    <a:pt x="50" y="56"/>
                    <a:pt x="50" y="56"/>
                    <a:pt x="50" y="56"/>
                  </a:cubicBezTo>
                  <a:cubicBezTo>
                    <a:pt x="49" y="56"/>
                    <a:pt x="48" y="56"/>
                    <a:pt x="48" y="56"/>
                  </a:cubicBezTo>
                  <a:cubicBezTo>
                    <a:pt x="47" y="56"/>
                    <a:pt x="44" y="56"/>
                    <a:pt x="43" y="58"/>
                  </a:cubicBezTo>
                  <a:cubicBezTo>
                    <a:pt x="42" y="59"/>
                    <a:pt x="42" y="60"/>
                    <a:pt x="42" y="60"/>
                  </a:cubicBezTo>
                  <a:cubicBezTo>
                    <a:pt x="42" y="61"/>
                    <a:pt x="41" y="61"/>
                    <a:pt x="41" y="61"/>
                  </a:cubicBezTo>
                  <a:cubicBezTo>
                    <a:pt x="41" y="61"/>
                    <a:pt x="41" y="61"/>
                    <a:pt x="40" y="62"/>
                  </a:cubicBezTo>
                  <a:cubicBezTo>
                    <a:pt x="38" y="62"/>
                    <a:pt x="35" y="63"/>
                    <a:pt x="35" y="67"/>
                  </a:cubicBezTo>
                  <a:cubicBezTo>
                    <a:pt x="34" y="68"/>
                    <a:pt x="34" y="69"/>
                    <a:pt x="34" y="70"/>
                  </a:cubicBezTo>
                  <a:cubicBezTo>
                    <a:pt x="34" y="72"/>
                    <a:pt x="34" y="74"/>
                    <a:pt x="34" y="76"/>
                  </a:cubicBezTo>
                  <a:cubicBezTo>
                    <a:pt x="34" y="76"/>
                    <a:pt x="34" y="76"/>
                    <a:pt x="34" y="76"/>
                  </a:cubicBezTo>
                  <a:cubicBezTo>
                    <a:pt x="34" y="77"/>
                    <a:pt x="34" y="78"/>
                    <a:pt x="33" y="79"/>
                  </a:cubicBezTo>
                  <a:cubicBezTo>
                    <a:pt x="33" y="78"/>
                    <a:pt x="32" y="76"/>
                    <a:pt x="32" y="74"/>
                  </a:cubicBezTo>
                  <a:cubicBezTo>
                    <a:pt x="31" y="70"/>
                    <a:pt x="31" y="66"/>
                    <a:pt x="31" y="62"/>
                  </a:cubicBezTo>
                  <a:cubicBezTo>
                    <a:pt x="31" y="60"/>
                    <a:pt x="31" y="59"/>
                    <a:pt x="31" y="57"/>
                  </a:cubicBezTo>
                  <a:cubicBezTo>
                    <a:pt x="31" y="56"/>
                    <a:pt x="32" y="54"/>
                    <a:pt x="32" y="53"/>
                  </a:cubicBezTo>
                  <a:cubicBezTo>
                    <a:pt x="32" y="50"/>
                    <a:pt x="32" y="47"/>
                    <a:pt x="32" y="44"/>
                  </a:cubicBezTo>
                  <a:cubicBezTo>
                    <a:pt x="31" y="42"/>
                    <a:pt x="31" y="39"/>
                    <a:pt x="30" y="37"/>
                  </a:cubicBezTo>
                  <a:cubicBezTo>
                    <a:pt x="29" y="37"/>
                    <a:pt x="29" y="36"/>
                    <a:pt x="30" y="35"/>
                  </a:cubicBezTo>
                  <a:cubicBezTo>
                    <a:pt x="33" y="32"/>
                    <a:pt x="33" y="27"/>
                    <a:pt x="32" y="23"/>
                  </a:cubicBezTo>
                  <a:cubicBezTo>
                    <a:pt x="32" y="19"/>
                    <a:pt x="29" y="17"/>
                    <a:pt x="25" y="17"/>
                  </a:cubicBezTo>
                  <a:cubicBezTo>
                    <a:pt x="26" y="16"/>
                    <a:pt x="27" y="16"/>
                    <a:pt x="27" y="16"/>
                  </a:cubicBezTo>
                  <a:cubicBezTo>
                    <a:pt x="29" y="15"/>
                    <a:pt x="31" y="14"/>
                    <a:pt x="31" y="12"/>
                  </a:cubicBezTo>
                  <a:cubicBezTo>
                    <a:pt x="32" y="11"/>
                    <a:pt x="32" y="9"/>
                    <a:pt x="32" y="8"/>
                  </a:cubicBezTo>
                  <a:cubicBezTo>
                    <a:pt x="32" y="8"/>
                    <a:pt x="31" y="7"/>
                    <a:pt x="31" y="7"/>
                  </a:cubicBezTo>
                  <a:cubicBezTo>
                    <a:pt x="31" y="7"/>
                    <a:pt x="32" y="7"/>
                    <a:pt x="32" y="6"/>
                  </a:cubicBezTo>
                  <a:cubicBezTo>
                    <a:pt x="32" y="6"/>
                    <a:pt x="32" y="3"/>
                    <a:pt x="30" y="1"/>
                  </a:cubicBezTo>
                  <a:cubicBezTo>
                    <a:pt x="28" y="0"/>
                    <a:pt x="27" y="0"/>
                    <a:pt x="26" y="0"/>
                  </a:cubicBezTo>
                  <a:cubicBezTo>
                    <a:pt x="23" y="0"/>
                    <a:pt x="21" y="1"/>
                    <a:pt x="19" y="2"/>
                  </a:cubicBezTo>
                  <a:cubicBezTo>
                    <a:pt x="18" y="3"/>
                    <a:pt x="18" y="4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6" y="5"/>
                  </a:cubicBezTo>
                  <a:cubicBezTo>
                    <a:pt x="15" y="5"/>
                    <a:pt x="14" y="5"/>
                    <a:pt x="13" y="6"/>
                  </a:cubicBezTo>
                  <a:cubicBezTo>
                    <a:pt x="13" y="6"/>
                    <a:pt x="12" y="7"/>
                    <a:pt x="12" y="7"/>
                  </a:cubicBezTo>
                  <a:cubicBezTo>
                    <a:pt x="11" y="8"/>
                    <a:pt x="10" y="9"/>
                    <a:pt x="10" y="10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8" y="13"/>
                    <a:pt x="7" y="15"/>
                    <a:pt x="6" y="16"/>
                  </a:cubicBezTo>
                  <a:cubicBezTo>
                    <a:pt x="6" y="16"/>
                    <a:pt x="5" y="17"/>
                    <a:pt x="5" y="18"/>
                  </a:cubicBezTo>
                  <a:cubicBezTo>
                    <a:pt x="3" y="19"/>
                    <a:pt x="2" y="20"/>
                    <a:pt x="1" y="21"/>
                  </a:cubicBezTo>
                  <a:cubicBezTo>
                    <a:pt x="0" y="23"/>
                    <a:pt x="0" y="26"/>
                    <a:pt x="0" y="27"/>
                  </a:cubicBezTo>
                  <a:cubicBezTo>
                    <a:pt x="0" y="28"/>
                    <a:pt x="0" y="30"/>
                    <a:pt x="0" y="30"/>
                  </a:cubicBezTo>
                  <a:cubicBezTo>
                    <a:pt x="0" y="32"/>
                    <a:pt x="0" y="34"/>
                    <a:pt x="0" y="35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9"/>
                    <a:pt x="0" y="41"/>
                    <a:pt x="1" y="43"/>
                  </a:cubicBezTo>
                  <a:cubicBezTo>
                    <a:pt x="2" y="44"/>
                    <a:pt x="3" y="45"/>
                    <a:pt x="3" y="47"/>
                  </a:cubicBezTo>
                  <a:cubicBezTo>
                    <a:pt x="3" y="48"/>
                    <a:pt x="3" y="49"/>
                    <a:pt x="2" y="50"/>
                  </a:cubicBezTo>
                  <a:cubicBezTo>
                    <a:pt x="1" y="52"/>
                    <a:pt x="1" y="54"/>
                    <a:pt x="1" y="56"/>
                  </a:cubicBezTo>
                  <a:cubicBezTo>
                    <a:pt x="0" y="59"/>
                    <a:pt x="1" y="61"/>
                    <a:pt x="1" y="62"/>
                  </a:cubicBezTo>
                  <a:cubicBezTo>
                    <a:pt x="1" y="63"/>
                    <a:pt x="1" y="64"/>
                    <a:pt x="2" y="64"/>
                  </a:cubicBezTo>
                  <a:cubicBezTo>
                    <a:pt x="2" y="66"/>
                    <a:pt x="2" y="68"/>
                    <a:pt x="2" y="70"/>
                  </a:cubicBezTo>
                  <a:cubicBezTo>
                    <a:pt x="2" y="71"/>
                    <a:pt x="2" y="71"/>
                    <a:pt x="2" y="71"/>
                  </a:cubicBezTo>
                  <a:cubicBezTo>
                    <a:pt x="2" y="73"/>
                    <a:pt x="3" y="75"/>
                    <a:pt x="3" y="77"/>
                  </a:cubicBezTo>
                  <a:cubicBezTo>
                    <a:pt x="3" y="77"/>
                    <a:pt x="3" y="78"/>
                    <a:pt x="3" y="79"/>
                  </a:cubicBezTo>
                  <a:cubicBezTo>
                    <a:pt x="4" y="82"/>
                    <a:pt x="4" y="85"/>
                    <a:pt x="4" y="88"/>
                  </a:cubicBezTo>
                  <a:cubicBezTo>
                    <a:pt x="4" y="89"/>
                    <a:pt x="4" y="90"/>
                    <a:pt x="4" y="91"/>
                  </a:cubicBezTo>
                  <a:cubicBezTo>
                    <a:pt x="4" y="94"/>
                    <a:pt x="5" y="97"/>
                    <a:pt x="6" y="100"/>
                  </a:cubicBezTo>
                  <a:cubicBezTo>
                    <a:pt x="6" y="101"/>
                    <a:pt x="7" y="101"/>
                    <a:pt x="7" y="102"/>
                  </a:cubicBezTo>
                  <a:cubicBezTo>
                    <a:pt x="6" y="102"/>
                    <a:pt x="6" y="103"/>
                    <a:pt x="5" y="104"/>
                  </a:cubicBezTo>
                  <a:cubicBezTo>
                    <a:pt x="3" y="107"/>
                    <a:pt x="3" y="113"/>
                    <a:pt x="6" y="116"/>
                  </a:cubicBezTo>
                  <a:cubicBezTo>
                    <a:pt x="8" y="118"/>
                    <a:pt x="11" y="118"/>
                    <a:pt x="13" y="118"/>
                  </a:cubicBezTo>
                  <a:cubicBezTo>
                    <a:pt x="14" y="118"/>
                    <a:pt x="15" y="118"/>
                    <a:pt x="15" y="119"/>
                  </a:cubicBezTo>
                  <a:cubicBezTo>
                    <a:pt x="16" y="119"/>
                    <a:pt x="16" y="120"/>
                    <a:pt x="16" y="121"/>
                  </a:cubicBezTo>
                  <a:cubicBezTo>
                    <a:pt x="16" y="121"/>
                    <a:pt x="16" y="121"/>
                    <a:pt x="15" y="121"/>
                  </a:cubicBezTo>
                  <a:cubicBezTo>
                    <a:pt x="15" y="121"/>
                    <a:pt x="14" y="121"/>
                    <a:pt x="14" y="121"/>
                  </a:cubicBezTo>
                  <a:cubicBezTo>
                    <a:pt x="11" y="121"/>
                    <a:pt x="10" y="122"/>
                    <a:pt x="8" y="123"/>
                  </a:cubicBezTo>
                  <a:cubicBezTo>
                    <a:pt x="4" y="127"/>
                    <a:pt x="4" y="132"/>
                    <a:pt x="4" y="135"/>
                  </a:cubicBezTo>
                  <a:cubicBezTo>
                    <a:pt x="4" y="135"/>
                    <a:pt x="4" y="135"/>
                    <a:pt x="4" y="136"/>
                  </a:cubicBezTo>
                  <a:cubicBezTo>
                    <a:pt x="4" y="137"/>
                    <a:pt x="4" y="138"/>
                    <a:pt x="4" y="140"/>
                  </a:cubicBezTo>
                  <a:cubicBezTo>
                    <a:pt x="5" y="143"/>
                    <a:pt x="10" y="147"/>
                    <a:pt x="13" y="147"/>
                  </a:cubicBezTo>
                  <a:cubicBezTo>
                    <a:pt x="13" y="147"/>
                    <a:pt x="14" y="147"/>
                    <a:pt x="14" y="147"/>
                  </a:cubicBezTo>
                  <a:cubicBezTo>
                    <a:pt x="14" y="147"/>
                    <a:pt x="14" y="147"/>
                    <a:pt x="15" y="147"/>
                  </a:cubicBezTo>
                  <a:cubicBezTo>
                    <a:pt x="15" y="147"/>
                    <a:pt x="15" y="148"/>
                    <a:pt x="15" y="148"/>
                  </a:cubicBezTo>
                  <a:cubicBezTo>
                    <a:pt x="15" y="152"/>
                    <a:pt x="13" y="157"/>
                    <a:pt x="11" y="161"/>
                  </a:cubicBezTo>
                  <a:cubicBezTo>
                    <a:pt x="10" y="162"/>
                    <a:pt x="9" y="163"/>
                    <a:pt x="9" y="164"/>
                  </a:cubicBezTo>
                  <a:cubicBezTo>
                    <a:pt x="6" y="170"/>
                    <a:pt x="5" y="179"/>
                    <a:pt x="9" y="185"/>
                  </a:cubicBezTo>
                  <a:cubicBezTo>
                    <a:pt x="10" y="187"/>
                    <a:pt x="13" y="190"/>
                    <a:pt x="19" y="190"/>
                  </a:cubicBezTo>
                  <a:cubicBezTo>
                    <a:pt x="19" y="190"/>
                    <a:pt x="20" y="190"/>
                    <a:pt x="21" y="190"/>
                  </a:cubicBezTo>
                  <a:cubicBezTo>
                    <a:pt x="26" y="190"/>
                    <a:pt x="29" y="186"/>
                    <a:pt x="32" y="182"/>
                  </a:cubicBezTo>
                  <a:cubicBezTo>
                    <a:pt x="32" y="182"/>
                    <a:pt x="33" y="181"/>
                    <a:pt x="33" y="181"/>
                  </a:cubicBezTo>
                  <a:cubicBezTo>
                    <a:pt x="36" y="177"/>
                    <a:pt x="39" y="175"/>
                    <a:pt x="43" y="173"/>
                  </a:cubicBezTo>
                  <a:cubicBezTo>
                    <a:pt x="46" y="172"/>
                    <a:pt x="48" y="171"/>
                    <a:pt x="52" y="169"/>
                  </a:cubicBezTo>
                  <a:cubicBezTo>
                    <a:pt x="54" y="169"/>
                    <a:pt x="57" y="168"/>
                    <a:pt x="59" y="167"/>
                  </a:cubicBezTo>
                  <a:cubicBezTo>
                    <a:pt x="62" y="166"/>
                    <a:pt x="65" y="165"/>
                    <a:pt x="68" y="164"/>
                  </a:cubicBezTo>
                  <a:cubicBezTo>
                    <a:pt x="73" y="163"/>
                    <a:pt x="78" y="161"/>
                    <a:pt x="81" y="156"/>
                  </a:cubicBezTo>
                  <a:cubicBezTo>
                    <a:pt x="82" y="155"/>
                    <a:pt x="82" y="153"/>
                    <a:pt x="83" y="152"/>
                  </a:cubicBezTo>
                  <a:cubicBezTo>
                    <a:pt x="83" y="152"/>
                    <a:pt x="83" y="151"/>
                    <a:pt x="84" y="151"/>
                  </a:cubicBezTo>
                  <a:cubicBezTo>
                    <a:pt x="84" y="150"/>
                    <a:pt x="84" y="150"/>
                    <a:pt x="84" y="150"/>
                  </a:cubicBezTo>
                  <a:cubicBezTo>
                    <a:pt x="85" y="148"/>
                    <a:pt x="85" y="148"/>
                    <a:pt x="86" y="148"/>
                  </a:cubicBezTo>
                  <a:cubicBezTo>
                    <a:pt x="86" y="147"/>
                    <a:pt x="87" y="147"/>
                    <a:pt x="87" y="147"/>
                  </a:cubicBezTo>
                  <a:cubicBezTo>
                    <a:pt x="88" y="147"/>
                    <a:pt x="89" y="147"/>
                    <a:pt x="89" y="146"/>
                  </a:cubicBezTo>
                  <a:cubicBezTo>
                    <a:pt x="91" y="145"/>
                    <a:pt x="92" y="144"/>
                    <a:pt x="92" y="144"/>
                  </a:cubicBezTo>
                  <a:cubicBezTo>
                    <a:pt x="92" y="143"/>
                    <a:pt x="93" y="143"/>
                    <a:pt x="93" y="143"/>
                  </a:cubicBezTo>
                  <a:cubicBezTo>
                    <a:pt x="93" y="143"/>
                    <a:pt x="93" y="144"/>
                    <a:pt x="93" y="144"/>
                  </a:cubicBezTo>
                  <a:cubicBezTo>
                    <a:pt x="93" y="145"/>
                    <a:pt x="93" y="145"/>
                    <a:pt x="93" y="145"/>
                  </a:cubicBezTo>
                  <a:cubicBezTo>
                    <a:pt x="93" y="146"/>
                    <a:pt x="93" y="149"/>
                    <a:pt x="96" y="150"/>
                  </a:cubicBezTo>
                  <a:cubicBezTo>
                    <a:pt x="96" y="151"/>
                    <a:pt x="97" y="151"/>
                    <a:pt x="98" y="151"/>
                  </a:cubicBezTo>
                  <a:cubicBezTo>
                    <a:pt x="99" y="151"/>
                    <a:pt x="99" y="151"/>
                    <a:pt x="100" y="151"/>
                  </a:cubicBezTo>
                  <a:cubicBezTo>
                    <a:pt x="100" y="151"/>
                    <a:pt x="100" y="151"/>
                    <a:pt x="100" y="151"/>
                  </a:cubicBezTo>
                  <a:cubicBezTo>
                    <a:pt x="104" y="151"/>
                    <a:pt x="108" y="149"/>
                    <a:pt x="110" y="146"/>
                  </a:cubicBezTo>
                  <a:cubicBezTo>
                    <a:pt x="110" y="145"/>
                    <a:pt x="110" y="145"/>
                    <a:pt x="110" y="145"/>
                  </a:cubicBezTo>
                  <a:cubicBezTo>
                    <a:pt x="111" y="146"/>
                    <a:pt x="111" y="146"/>
                    <a:pt x="111" y="146"/>
                  </a:cubicBezTo>
                  <a:cubicBezTo>
                    <a:pt x="112" y="147"/>
                    <a:pt x="113" y="147"/>
                    <a:pt x="113" y="147"/>
                  </a:cubicBezTo>
                  <a:cubicBezTo>
                    <a:pt x="113" y="148"/>
                    <a:pt x="113" y="149"/>
                    <a:pt x="111" y="151"/>
                  </a:cubicBezTo>
                  <a:cubicBezTo>
                    <a:pt x="110" y="153"/>
                    <a:pt x="109" y="155"/>
                    <a:pt x="107" y="157"/>
                  </a:cubicBezTo>
                  <a:cubicBezTo>
                    <a:pt x="107" y="158"/>
                    <a:pt x="106" y="158"/>
                    <a:pt x="105" y="159"/>
                  </a:cubicBezTo>
                  <a:cubicBezTo>
                    <a:pt x="104" y="162"/>
                    <a:pt x="104" y="163"/>
                    <a:pt x="104" y="165"/>
                  </a:cubicBezTo>
                  <a:cubicBezTo>
                    <a:pt x="105" y="166"/>
                    <a:pt x="105" y="166"/>
                    <a:pt x="105" y="166"/>
                  </a:cubicBezTo>
                  <a:cubicBezTo>
                    <a:pt x="105" y="166"/>
                    <a:pt x="105" y="166"/>
                    <a:pt x="105" y="167"/>
                  </a:cubicBezTo>
                  <a:cubicBezTo>
                    <a:pt x="105" y="167"/>
                    <a:pt x="105" y="168"/>
                    <a:pt x="105" y="169"/>
                  </a:cubicBezTo>
                  <a:cubicBezTo>
                    <a:pt x="105" y="171"/>
                    <a:pt x="107" y="172"/>
                    <a:pt x="110" y="172"/>
                  </a:cubicBezTo>
                  <a:cubicBezTo>
                    <a:pt x="112" y="172"/>
                    <a:pt x="114" y="172"/>
                    <a:pt x="115" y="171"/>
                  </a:cubicBezTo>
                  <a:cubicBezTo>
                    <a:pt x="116" y="170"/>
                    <a:pt x="117" y="169"/>
                    <a:pt x="118" y="168"/>
                  </a:cubicBezTo>
                  <a:cubicBezTo>
                    <a:pt x="118" y="167"/>
                    <a:pt x="119" y="167"/>
                    <a:pt x="119" y="166"/>
                  </a:cubicBezTo>
                  <a:cubicBezTo>
                    <a:pt x="120" y="166"/>
                    <a:pt x="121" y="166"/>
                    <a:pt x="121" y="166"/>
                  </a:cubicBezTo>
                  <a:cubicBezTo>
                    <a:pt x="123" y="166"/>
                    <a:pt x="125" y="165"/>
                    <a:pt x="126" y="164"/>
                  </a:cubicBezTo>
                  <a:cubicBezTo>
                    <a:pt x="127" y="162"/>
                    <a:pt x="128" y="161"/>
                    <a:pt x="128" y="160"/>
                  </a:cubicBezTo>
                  <a:cubicBezTo>
                    <a:pt x="128" y="159"/>
                    <a:pt x="128" y="159"/>
                    <a:pt x="128" y="159"/>
                  </a:cubicBezTo>
                  <a:cubicBezTo>
                    <a:pt x="128" y="158"/>
                    <a:pt x="129" y="157"/>
                    <a:pt x="129" y="156"/>
                  </a:cubicBezTo>
                  <a:cubicBezTo>
                    <a:pt x="129" y="155"/>
                    <a:pt x="129" y="155"/>
                    <a:pt x="129" y="155"/>
                  </a:cubicBezTo>
                  <a:cubicBezTo>
                    <a:pt x="129" y="154"/>
                    <a:pt x="129" y="153"/>
                    <a:pt x="130" y="152"/>
                  </a:cubicBezTo>
                  <a:cubicBezTo>
                    <a:pt x="130" y="150"/>
                    <a:pt x="129" y="149"/>
                    <a:pt x="129" y="147"/>
                  </a:cubicBezTo>
                  <a:cubicBezTo>
                    <a:pt x="129" y="147"/>
                    <a:pt x="128" y="147"/>
                    <a:pt x="128" y="146"/>
                  </a:cubicBezTo>
                  <a:cubicBezTo>
                    <a:pt x="127" y="142"/>
                    <a:pt x="127" y="138"/>
                    <a:pt x="129" y="135"/>
                  </a:cubicBezTo>
                  <a:cubicBezTo>
                    <a:pt x="130" y="134"/>
                    <a:pt x="131" y="133"/>
                    <a:pt x="131" y="132"/>
                  </a:cubicBezTo>
                  <a:cubicBezTo>
                    <a:pt x="133" y="130"/>
                    <a:pt x="135" y="127"/>
                    <a:pt x="135" y="122"/>
                  </a:cubicBezTo>
                  <a:cubicBezTo>
                    <a:pt x="135" y="121"/>
                    <a:pt x="135" y="120"/>
                    <a:pt x="135" y="118"/>
                  </a:cubicBezTo>
                  <a:cubicBezTo>
                    <a:pt x="134" y="117"/>
                    <a:pt x="134" y="116"/>
                    <a:pt x="134" y="115"/>
                  </a:cubicBezTo>
                  <a:cubicBezTo>
                    <a:pt x="134" y="115"/>
                    <a:pt x="134" y="115"/>
                    <a:pt x="134" y="115"/>
                  </a:cubicBezTo>
                  <a:cubicBezTo>
                    <a:pt x="142" y="116"/>
                    <a:pt x="145" y="130"/>
                    <a:pt x="145" y="137"/>
                  </a:cubicBezTo>
                  <a:cubicBezTo>
                    <a:pt x="145" y="141"/>
                    <a:pt x="147" y="148"/>
                    <a:pt x="152" y="148"/>
                  </a:cubicBezTo>
                  <a:cubicBezTo>
                    <a:pt x="154" y="148"/>
                    <a:pt x="156" y="146"/>
                    <a:pt x="158" y="143"/>
                  </a:cubicBezTo>
                  <a:cubicBezTo>
                    <a:pt x="159" y="141"/>
                    <a:pt x="159" y="140"/>
                    <a:pt x="160" y="138"/>
                  </a:cubicBezTo>
                  <a:cubicBezTo>
                    <a:pt x="160" y="138"/>
                    <a:pt x="160" y="138"/>
                    <a:pt x="160" y="138"/>
                  </a:cubicBezTo>
                  <a:cubicBezTo>
                    <a:pt x="160" y="139"/>
                    <a:pt x="161" y="140"/>
                    <a:pt x="161" y="140"/>
                  </a:cubicBezTo>
                  <a:cubicBezTo>
                    <a:pt x="162" y="140"/>
                    <a:pt x="162" y="141"/>
                    <a:pt x="162" y="141"/>
                  </a:cubicBezTo>
                  <a:cubicBezTo>
                    <a:pt x="162" y="142"/>
                    <a:pt x="162" y="142"/>
                    <a:pt x="162" y="143"/>
                  </a:cubicBezTo>
                  <a:cubicBezTo>
                    <a:pt x="163" y="145"/>
                    <a:pt x="166" y="147"/>
                    <a:pt x="168" y="147"/>
                  </a:cubicBezTo>
                  <a:cubicBezTo>
                    <a:pt x="170" y="147"/>
                    <a:pt x="172" y="147"/>
                    <a:pt x="172" y="145"/>
                  </a:cubicBezTo>
                  <a:cubicBezTo>
                    <a:pt x="173" y="144"/>
                    <a:pt x="173" y="143"/>
                    <a:pt x="173" y="142"/>
                  </a:cubicBezTo>
                  <a:cubicBezTo>
                    <a:pt x="174" y="141"/>
                    <a:pt x="174" y="141"/>
                    <a:pt x="174" y="140"/>
                  </a:cubicBezTo>
                  <a:cubicBezTo>
                    <a:pt x="175" y="140"/>
                    <a:pt x="176" y="140"/>
                    <a:pt x="176" y="140"/>
                  </a:cubicBezTo>
                  <a:cubicBezTo>
                    <a:pt x="178" y="139"/>
                    <a:pt x="180" y="138"/>
                    <a:pt x="181" y="137"/>
                  </a:cubicBezTo>
                  <a:cubicBezTo>
                    <a:pt x="184" y="133"/>
                    <a:pt x="182" y="130"/>
                    <a:pt x="181" y="128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1" name="Freeform 60"/>
            <p:cNvSpPr>
              <a:spLocks noEditPoints="1"/>
            </p:cNvSpPr>
            <p:nvPr/>
          </p:nvSpPr>
          <p:spPr bwMode="auto">
            <a:xfrm>
              <a:off x="16472692" y="6625709"/>
              <a:ext cx="1727573" cy="2221218"/>
            </a:xfrm>
            <a:custGeom>
              <a:avLst/>
              <a:gdLst>
                <a:gd name="T0" fmla="*/ 309 w 317"/>
                <a:gd name="T1" fmla="*/ 141 h 448"/>
                <a:gd name="T2" fmla="*/ 303 w 317"/>
                <a:gd name="T3" fmla="*/ 138 h 448"/>
                <a:gd name="T4" fmla="*/ 291 w 317"/>
                <a:gd name="T5" fmla="*/ 135 h 448"/>
                <a:gd name="T6" fmla="*/ 282 w 317"/>
                <a:gd name="T7" fmla="*/ 129 h 448"/>
                <a:gd name="T8" fmla="*/ 261 w 317"/>
                <a:gd name="T9" fmla="*/ 129 h 448"/>
                <a:gd name="T10" fmla="*/ 240 w 317"/>
                <a:gd name="T11" fmla="*/ 136 h 448"/>
                <a:gd name="T12" fmla="*/ 241 w 317"/>
                <a:gd name="T13" fmla="*/ 131 h 448"/>
                <a:gd name="T14" fmla="*/ 240 w 317"/>
                <a:gd name="T15" fmla="*/ 107 h 448"/>
                <a:gd name="T16" fmla="*/ 239 w 317"/>
                <a:gd name="T17" fmla="*/ 104 h 448"/>
                <a:gd name="T18" fmla="*/ 237 w 317"/>
                <a:gd name="T19" fmla="*/ 93 h 448"/>
                <a:gd name="T20" fmla="*/ 234 w 317"/>
                <a:gd name="T21" fmla="*/ 84 h 448"/>
                <a:gd name="T22" fmla="*/ 234 w 317"/>
                <a:gd name="T23" fmla="*/ 76 h 448"/>
                <a:gd name="T24" fmla="*/ 225 w 317"/>
                <a:gd name="T25" fmla="*/ 66 h 448"/>
                <a:gd name="T26" fmla="*/ 216 w 317"/>
                <a:gd name="T27" fmla="*/ 67 h 448"/>
                <a:gd name="T28" fmla="*/ 203 w 317"/>
                <a:gd name="T29" fmla="*/ 63 h 448"/>
                <a:gd name="T30" fmla="*/ 201 w 317"/>
                <a:gd name="T31" fmla="*/ 52 h 448"/>
                <a:gd name="T32" fmla="*/ 204 w 317"/>
                <a:gd name="T33" fmla="*/ 28 h 448"/>
                <a:gd name="T34" fmla="*/ 64 w 317"/>
                <a:gd name="T35" fmla="*/ 0 h 448"/>
                <a:gd name="T36" fmla="*/ 51 w 317"/>
                <a:gd name="T37" fmla="*/ 86 h 448"/>
                <a:gd name="T38" fmla="*/ 50 w 317"/>
                <a:gd name="T39" fmla="*/ 89 h 448"/>
                <a:gd name="T40" fmla="*/ 0 w 317"/>
                <a:gd name="T41" fmla="*/ 426 h 448"/>
                <a:gd name="T42" fmla="*/ 101 w 317"/>
                <a:gd name="T43" fmla="*/ 442 h 448"/>
                <a:gd name="T44" fmla="*/ 136 w 317"/>
                <a:gd name="T45" fmla="*/ 447 h 448"/>
                <a:gd name="T46" fmla="*/ 156 w 317"/>
                <a:gd name="T47" fmla="*/ 447 h 448"/>
                <a:gd name="T48" fmla="*/ 315 w 317"/>
                <a:gd name="T49" fmla="*/ 147 h 448"/>
                <a:gd name="T50" fmla="*/ 132 w 317"/>
                <a:gd name="T51" fmla="*/ 369 h 448"/>
                <a:gd name="T52" fmla="*/ 121 w 317"/>
                <a:gd name="T53" fmla="*/ 382 h 448"/>
                <a:gd name="T54" fmla="*/ 123 w 317"/>
                <a:gd name="T55" fmla="*/ 364 h 448"/>
                <a:gd name="T56" fmla="*/ 124 w 317"/>
                <a:gd name="T57" fmla="*/ 355 h 448"/>
                <a:gd name="T58" fmla="*/ 126 w 317"/>
                <a:gd name="T59" fmla="*/ 349 h 448"/>
                <a:gd name="T60" fmla="*/ 131 w 317"/>
                <a:gd name="T61" fmla="*/ 351 h 448"/>
                <a:gd name="T62" fmla="*/ 133 w 317"/>
                <a:gd name="T63" fmla="*/ 360 h 448"/>
                <a:gd name="T64" fmla="*/ 62 w 317"/>
                <a:gd name="T65" fmla="*/ 245 h 448"/>
                <a:gd name="T66" fmla="*/ 58 w 317"/>
                <a:gd name="T67" fmla="*/ 247 h 448"/>
                <a:gd name="T68" fmla="*/ 58 w 317"/>
                <a:gd name="T69" fmla="*/ 238 h 448"/>
                <a:gd name="T70" fmla="*/ 64 w 317"/>
                <a:gd name="T71" fmla="*/ 244 h 448"/>
                <a:gd name="T72" fmla="*/ 58 w 317"/>
                <a:gd name="T73" fmla="*/ 257 h 448"/>
                <a:gd name="T74" fmla="*/ 60 w 317"/>
                <a:gd name="T75" fmla="*/ 267 h 448"/>
                <a:gd name="T76" fmla="*/ 64 w 317"/>
                <a:gd name="T77" fmla="*/ 270 h 448"/>
                <a:gd name="T78" fmla="*/ 50 w 317"/>
                <a:gd name="T79" fmla="*/ 261 h 448"/>
                <a:gd name="T80" fmla="*/ 49 w 317"/>
                <a:gd name="T81" fmla="*/ 255 h 448"/>
                <a:gd name="T82" fmla="*/ 98 w 317"/>
                <a:gd name="T83" fmla="*/ 306 h 448"/>
                <a:gd name="T84" fmla="*/ 86 w 317"/>
                <a:gd name="T85" fmla="*/ 284 h 448"/>
                <a:gd name="T86" fmla="*/ 90 w 317"/>
                <a:gd name="T87" fmla="*/ 284 h 448"/>
                <a:gd name="T88" fmla="*/ 96 w 317"/>
                <a:gd name="T89" fmla="*/ 274 h 448"/>
                <a:gd name="T90" fmla="*/ 85 w 317"/>
                <a:gd name="T91" fmla="*/ 273 h 448"/>
                <a:gd name="T92" fmla="*/ 82 w 317"/>
                <a:gd name="T93" fmla="*/ 267 h 448"/>
                <a:gd name="T94" fmla="*/ 93 w 317"/>
                <a:gd name="T95" fmla="*/ 249 h 448"/>
                <a:gd name="T96" fmla="*/ 119 w 317"/>
                <a:gd name="T97" fmla="*/ 305 h 448"/>
                <a:gd name="T98" fmla="*/ 124 w 317"/>
                <a:gd name="T99" fmla="*/ 325 h 448"/>
                <a:gd name="T100" fmla="*/ 121 w 317"/>
                <a:gd name="T101" fmla="*/ 333 h 448"/>
                <a:gd name="T102" fmla="*/ 108 w 317"/>
                <a:gd name="T103" fmla="*/ 314 h 448"/>
                <a:gd name="T104" fmla="*/ 98 w 317"/>
                <a:gd name="T105" fmla="*/ 306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17" h="448">
                  <a:moveTo>
                    <a:pt x="313" y="142"/>
                  </a:moveTo>
                  <a:cubicBezTo>
                    <a:pt x="313" y="141"/>
                    <a:pt x="313" y="141"/>
                    <a:pt x="312" y="141"/>
                  </a:cubicBezTo>
                  <a:cubicBezTo>
                    <a:pt x="311" y="141"/>
                    <a:pt x="310" y="141"/>
                    <a:pt x="309" y="141"/>
                  </a:cubicBezTo>
                  <a:cubicBezTo>
                    <a:pt x="309" y="141"/>
                    <a:pt x="308" y="141"/>
                    <a:pt x="308" y="140"/>
                  </a:cubicBezTo>
                  <a:cubicBezTo>
                    <a:pt x="306" y="140"/>
                    <a:pt x="305" y="139"/>
                    <a:pt x="304" y="139"/>
                  </a:cubicBezTo>
                  <a:cubicBezTo>
                    <a:pt x="303" y="138"/>
                    <a:pt x="303" y="138"/>
                    <a:pt x="303" y="138"/>
                  </a:cubicBezTo>
                  <a:cubicBezTo>
                    <a:pt x="301" y="137"/>
                    <a:pt x="299" y="136"/>
                    <a:pt x="297" y="136"/>
                  </a:cubicBezTo>
                  <a:cubicBezTo>
                    <a:pt x="296" y="136"/>
                    <a:pt x="295" y="136"/>
                    <a:pt x="294" y="136"/>
                  </a:cubicBezTo>
                  <a:cubicBezTo>
                    <a:pt x="292" y="136"/>
                    <a:pt x="292" y="136"/>
                    <a:pt x="291" y="135"/>
                  </a:cubicBezTo>
                  <a:cubicBezTo>
                    <a:pt x="291" y="135"/>
                    <a:pt x="290" y="134"/>
                    <a:pt x="290" y="134"/>
                  </a:cubicBezTo>
                  <a:cubicBezTo>
                    <a:pt x="289" y="133"/>
                    <a:pt x="288" y="132"/>
                    <a:pt x="286" y="131"/>
                  </a:cubicBezTo>
                  <a:cubicBezTo>
                    <a:pt x="285" y="130"/>
                    <a:pt x="284" y="130"/>
                    <a:pt x="282" y="129"/>
                  </a:cubicBezTo>
                  <a:cubicBezTo>
                    <a:pt x="281" y="129"/>
                    <a:pt x="280" y="128"/>
                    <a:pt x="279" y="128"/>
                  </a:cubicBezTo>
                  <a:cubicBezTo>
                    <a:pt x="277" y="127"/>
                    <a:pt x="274" y="127"/>
                    <a:pt x="272" y="127"/>
                  </a:cubicBezTo>
                  <a:cubicBezTo>
                    <a:pt x="268" y="127"/>
                    <a:pt x="265" y="127"/>
                    <a:pt x="261" y="129"/>
                  </a:cubicBezTo>
                  <a:cubicBezTo>
                    <a:pt x="260" y="129"/>
                    <a:pt x="258" y="130"/>
                    <a:pt x="256" y="131"/>
                  </a:cubicBezTo>
                  <a:cubicBezTo>
                    <a:pt x="251" y="134"/>
                    <a:pt x="245" y="137"/>
                    <a:pt x="242" y="137"/>
                  </a:cubicBezTo>
                  <a:cubicBezTo>
                    <a:pt x="241" y="137"/>
                    <a:pt x="240" y="137"/>
                    <a:pt x="240" y="136"/>
                  </a:cubicBezTo>
                  <a:cubicBezTo>
                    <a:pt x="239" y="136"/>
                    <a:pt x="239" y="136"/>
                    <a:pt x="239" y="136"/>
                  </a:cubicBezTo>
                  <a:cubicBezTo>
                    <a:pt x="239" y="136"/>
                    <a:pt x="240" y="134"/>
                    <a:pt x="240" y="133"/>
                  </a:cubicBezTo>
                  <a:cubicBezTo>
                    <a:pt x="241" y="132"/>
                    <a:pt x="241" y="132"/>
                    <a:pt x="241" y="131"/>
                  </a:cubicBezTo>
                  <a:cubicBezTo>
                    <a:pt x="244" y="126"/>
                    <a:pt x="244" y="122"/>
                    <a:pt x="243" y="117"/>
                  </a:cubicBezTo>
                  <a:cubicBezTo>
                    <a:pt x="243" y="114"/>
                    <a:pt x="242" y="111"/>
                    <a:pt x="240" y="108"/>
                  </a:cubicBezTo>
                  <a:cubicBezTo>
                    <a:pt x="240" y="108"/>
                    <a:pt x="240" y="108"/>
                    <a:pt x="240" y="107"/>
                  </a:cubicBezTo>
                  <a:cubicBezTo>
                    <a:pt x="239" y="107"/>
                    <a:pt x="239" y="107"/>
                    <a:pt x="239" y="107"/>
                  </a:cubicBezTo>
                  <a:cubicBezTo>
                    <a:pt x="239" y="107"/>
                    <a:pt x="239" y="106"/>
                    <a:pt x="239" y="105"/>
                  </a:cubicBezTo>
                  <a:cubicBezTo>
                    <a:pt x="239" y="105"/>
                    <a:pt x="239" y="104"/>
                    <a:pt x="239" y="104"/>
                  </a:cubicBezTo>
                  <a:cubicBezTo>
                    <a:pt x="239" y="103"/>
                    <a:pt x="239" y="102"/>
                    <a:pt x="239" y="102"/>
                  </a:cubicBezTo>
                  <a:cubicBezTo>
                    <a:pt x="238" y="100"/>
                    <a:pt x="238" y="99"/>
                    <a:pt x="238" y="97"/>
                  </a:cubicBezTo>
                  <a:cubicBezTo>
                    <a:pt x="237" y="96"/>
                    <a:pt x="237" y="95"/>
                    <a:pt x="237" y="93"/>
                  </a:cubicBezTo>
                  <a:cubicBezTo>
                    <a:pt x="237" y="92"/>
                    <a:pt x="236" y="91"/>
                    <a:pt x="236" y="90"/>
                  </a:cubicBezTo>
                  <a:cubicBezTo>
                    <a:pt x="236" y="89"/>
                    <a:pt x="236" y="88"/>
                    <a:pt x="235" y="87"/>
                  </a:cubicBezTo>
                  <a:cubicBezTo>
                    <a:pt x="235" y="86"/>
                    <a:pt x="234" y="85"/>
                    <a:pt x="234" y="84"/>
                  </a:cubicBezTo>
                  <a:cubicBezTo>
                    <a:pt x="234" y="83"/>
                    <a:pt x="234" y="81"/>
                    <a:pt x="234" y="80"/>
                  </a:cubicBezTo>
                  <a:cubicBezTo>
                    <a:pt x="234" y="79"/>
                    <a:pt x="234" y="78"/>
                    <a:pt x="234" y="77"/>
                  </a:cubicBezTo>
                  <a:cubicBezTo>
                    <a:pt x="234" y="76"/>
                    <a:pt x="234" y="76"/>
                    <a:pt x="234" y="76"/>
                  </a:cubicBezTo>
                  <a:cubicBezTo>
                    <a:pt x="234" y="74"/>
                    <a:pt x="234" y="72"/>
                    <a:pt x="233" y="70"/>
                  </a:cubicBezTo>
                  <a:cubicBezTo>
                    <a:pt x="231" y="68"/>
                    <a:pt x="229" y="66"/>
                    <a:pt x="226" y="66"/>
                  </a:cubicBezTo>
                  <a:cubicBezTo>
                    <a:pt x="225" y="66"/>
                    <a:pt x="225" y="66"/>
                    <a:pt x="225" y="66"/>
                  </a:cubicBezTo>
                  <a:cubicBezTo>
                    <a:pt x="224" y="66"/>
                    <a:pt x="223" y="66"/>
                    <a:pt x="222" y="66"/>
                  </a:cubicBezTo>
                  <a:cubicBezTo>
                    <a:pt x="222" y="66"/>
                    <a:pt x="221" y="66"/>
                    <a:pt x="220" y="66"/>
                  </a:cubicBezTo>
                  <a:cubicBezTo>
                    <a:pt x="219" y="66"/>
                    <a:pt x="217" y="66"/>
                    <a:pt x="216" y="67"/>
                  </a:cubicBezTo>
                  <a:cubicBezTo>
                    <a:pt x="214" y="67"/>
                    <a:pt x="212" y="67"/>
                    <a:pt x="211" y="67"/>
                  </a:cubicBezTo>
                  <a:cubicBezTo>
                    <a:pt x="210" y="67"/>
                    <a:pt x="209" y="67"/>
                    <a:pt x="208" y="67"/>
                  </a:cubicBezTo>
                  <a:cubicBezTo>
                    <a:pt x="206" y="66"/>
                    <a:pt x="204" y="65"/>
                    <a:pt x="203" y="63"/>
                  </a:cubicBezTo>
                  <a:cubicBezTo>
                    <a:pt x="202" y="63"/>
                    <a:pt x="202" y="62"/>
                    <a:pt x="202" y="61"/>
                  </a:cubicBezTo>
                  <a:cubicBezTo>
                    <a:pt x="202" y="60"/>
                    <a:pt x="202" y="60"/>
                    <a:pt x="202" y="59"/>
                  </a:cubicBezTo>
                  <a:cubicBezTo>
                    <a:pt x="201" y="57"/>
                    <a:pt x="201" y="54"/>
                    <a:pt x="201" y="52"/>
                  </a:cubicBezTo>
                  <a:cubicBezTo>
                    <a:pt x="202" y="51"/>
                    <a:pt x="202" y="50"/>
                    <a:pt x="202" y="49"/>
                  </a:cubicBezTo>
                  <a:cubicBezTo>
                    <a:pt x="203" y="47"/>
                    <a:pt x="203" y="45"/>
                    <a:pt x="203" y="43"/>
                  </a:cubicBezTo>
                  <a:cubicBezTo>
                    <a:pt x="204" y="38"/>
                    <a:pt x="204" y="33"/>
                    <a:pt x="204" y="28"/>
                  </a:cubicBezTo>
                  <a:cubicBezTo>
                    <a:pt x="204" y="26"/>
                    <a:pt x="204" y="23"/>
                    <a:pt x="204" y="21"/>
                  </a:cubicBezTo>
                  <a:cubicBezTo>
                    <a:pt x="204" y="19"/>
                    <a:pt x="204" y="19"/>
                    <a:pt x="204" y="19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0" y="28"/>
                    <a:pt x="56" y="55"/>
                    <a:pt x="51" y="82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3" y="86"/>
                    <a:pt x="53" y="86"/>
                    <a:pt x="53" y="86"/>
                  </a:cubicBezTo>
                  <a:cubicBezTo>
                    <a:pt x="52" y="87"/>
                    <a:pt x="52" y="87"/>
                    <a:pt x="51" y="88"/>
                  </a:cubicBezTo>
                  <a:cubicBezTo>
                    <a:pt x="50" y="89"/>
                    <a:pt x="50" y="89"/>
                    <a:pt x="50" y="89"/>
                  </a:cubicBezTo>
                  <a:cubicBezTo>
                    <a:pt x="50" y="90"/>
                    <a:pt x="50" y="90"/>
                    <a:pt x="50" y="90"/>
                  </a:cubicBezTo>
                  <a:cubicBezTo>
                    <a:pt x="31" y="213"/>
                    <a:pt x="10" y="357"/>
                    <a:pt x="1" y="423"/>
                  </a:cubicBezTo>
                  <a:cubicBezTo>
                    <a:pt x="0" y="426"/>
                    <a:pt x="0" y="426"/>
                    <a:pt x="0" y="426"/>
                  </a:cubicBezTo>
                  <a:cubicBezTo>
                    <a:pt x="3" y="426"/>
                    <a:pt x="3" y="426"/>
                    <a:pt x="3" y="426"/>
                  </a:cubicBezTo>
                  <a:cubicBezTo>
                    <a:pt x="36" y="432"/>
                    <a:pt x="68" y="437"/>
                    <a:pt x="100" y="442"/>
                  </a:cubicBezTo>
                  <a:cubicBezTo>
                    <a:pt x="101" y="442"/>
                    <a:pt x="101" y="442"/>
                    <a:pt x="101" y="442"/>
                  </a:cubicBezTo>
                  <a:cubicBezTo>
                    <a:pt x="104" y="442"/>
                    <a:pt x="107" y="443"/>
                    <a:pt x="111" y="443"/>
                  </a:cubicBezTo>
                  <a:cubicBezTo>
                    <a:pt x="118" y="445"/>
                    <a:pt x="125" y="446"/>
                    <a:pt x="133" y="447"/>
                  </a:cubicBezTo>
                  <a:cubicBezTo>
                    <a:pt x="134" y="447"/>
                    <a:pt x="135" y="447"/>
                    <a:pt x="136" y="447"/>
                  </a:cubicBezTo>
                  <a:cubicBezTo>
                    <a:pt x="139" y="447"/>
                    <a:pt x="144" y="448"/>
                    <a:pt x="148" y="448"/>
                  </a:cubicBezTo>
                  <a:cubicBezTo>
                    <a:pt x="148" y="448"/>
                    <a:pt x="148" y="448"/>
                    <a:pt x="148" y="448"/>
                  </a:cubicBezTo>
                  <a:cubicBezTo>
                    <a:pt x="151" y="448"/>
                    <a:pt x="154" y="447"/>
                    <a:pt x="156" y="447"/>
                  </a:cubicBezTo>
                  <a:cubicBezTo>
                    <a:pt x="158" y="446"/>
                    <a:pt x="158" y="446"/>
                    <a:pt x="158" y="446"/>
                  </a:cubicBezTo>
                  <a:cubicBezTo>
                    <a:pt x="170" y="296"/>
                    <a:pt x="170" y="296"/>
                    <a:pt x="170" y="296"/>
                  </a:cubicBezTo>
                  <a:cubicBezTo>
                    <a:pt x="192" y="282"/>
                    <a:pt x="286" y="178"/>
                    <a:pt x="315" y="147"/>
                  </a:cubicBezTo>
                  <a:cubicBezTo>
                    <a:pt x="317" y="143"/>
                    <a:pt x="317" y="143"/>
                    <a:pt x="317" y="143"/>
                  </a:cubicBezTo>
                  <a:lnTo>
                    <a:pt x="313" y="142"/>
                  </a:lnTo>
                  <a:close/>
                  <a:moveTo>
                    <a:pt x="132" y="369"/>
                  </a:moveTo>
                  <a:cubicBezTo>
                    <a:pt x="132" y="371"/>
                    <a:pt x="132" y="373"/>
                    <a:pt x="131" y="375"/>
                  </a:cubicBezTo>
                  <a:cubicBezTo>
                    <a:pt x="129" y="379"/>
                    <a:pt x="125" y="383"/>
                    <a:pt x="123" y="383"/>
                  </a:cubicBezTo>
                  <a:cubicBezTo>
                    <a:pt x="123" y="383"/>
                    <a:pt x="122" y="383"/>
                    <a:pt x="121" y="382"/>
                  </a:cubicBezTo>
                  <a:cubicBezTo>
                    <a:pt x="120" y="380"/>
                    <a:pt x="121" y="378"/>
                    <a:pt x="122" y="375"/>
                  </a:cubicBezTo>
                  <a:cubicBezTo>
                    <a:pt x="123" y="372"/>
                    <a:pt x="123" y="370"/>
                    <a:pt x="123" y="368"/>
                  </a:cubicBezTo>
                  <a:cubicBezTo>
                    <a:pt x="123" y="366"/>
                    <a:pt x="123" y="365"/>
                    <a:pt x="123" y="364"/>
                  </a:cubicBezTo>
                  <a:cubicBezTo>
                    <a:pt x="123" y="364"/>
                    <a:pt x="124" y="364"/>
                    <a:pt x="124" y="363"/>
                  </a:cubicBezTo>
                  <a:cubicBezTo>
                    <a:pt x="124" y="362"/>
                    <a:pt x="125" y="361"/>
                    <a:pt x="125" y="359"/>
                  </a:cubicBezTo>
                  <a:cubicBezTo>
                    <a:pt x="125" y="358"/>
                    <a:pt x="125" y="356"/>
                    <a:pt x="124" y="355"/>
                  </a:cubicBezTo>
                  <a:cubicBezTo>
                    <a:pt x="124" y="355"/>
                    <a:pt x="124" y="354"/>
                    <a:pt x="123" y="353"/>
                  </a:cubicBezTo>
                  <a:cubicBezTo>
                    <a:pt x="123" y="353"/>
                    <a:pt x="124" y="352"/>
                    <a:pt x="125" y="350"/>
                  </a:cubicBezTo>
                  <a:cubicBezTo>
                    <a:pt x="126" y="349"/>
                    <a:pt x="126" y="349"/>
                    <a:pt x="126" y="349"/>
                  </a:cubicBezTo>
                  <a:cubicBezTo>
                    <a:pt x="127" y="347"/>
                    <a:pt x="128" y="346"/>
                    <a:pt x="129" y="345"/>
                  </a:cubicBezTo>
                  <a:cubicBezTo>
                    <a:pt x="130" y="346"/>
                    <a:pt x="130" y="347"/>
                    <a:pt x="130" y="347"/>
                  </a:cubicBezTo>
                  <a:cubicBezTo>
                    <a:pt x="130" y="348"/>
                    <a:pt x="131" y="350"/>
                    <a:pt x="131" y="351"/>
                  </a:cubicBezTo>
                  <a:cubicBezTo>
                    <a:pt x="132" y="351"/>
                    <a:pt x="132" y="352"/>
                    <a:pt x="132" y="353"/>
                  </a:cubicBezTo>
                  <a:cubicBezTo>
                    <a:pt x="134" y="355"/>
                    <a:pt x="134" y="356"/>
                    <a:pt x="134" y="357"/>
                  </a:cubicBezTo>
                  <a:cubicBezTo>
                    <a:pt x="134" y="358"/>
                    <a:pt x="133" y="359"/>
                    <a:pt x="133" y="360"/>
                  </a:cubicBezTo>
                  <a:cubicBezTo>
                    <a:pt x="133" y="362"/>
                    <a:pt x="132" y="364"/>
                    <a:pt x="132" y="367"/>
                  </a:cubicBezTo>
                  <a:cubicBezTo>
                    <a:pt x="132" y="367"/>
                    <a:pt x="132" y="368"/>
                    <a:pt x="132" y="369"/>
                  </a:cubicBezTo>
                  <a:close/>
                  <a:moveTo>
                    <a:pt x="62" y="245"/>
                  </a:moveTo>
                  <a:cubicBezTo>
                    <a:pt x="61" y="246"/>
                    <a:pt x="59" y="246"/>
                    <a:pt x="58" y="248"/>
                  </a:cubicBezTo>
                  <a:cubicBezTo>
                    <a:pt x="57" y="248"/>
                    <a:pt x="57" y="249"/>
                    <a:pt x="57" y="249"/>
                  </a:cubicBezTo>
                  <a:cubicBezTo>
                    <a:pt x="57" y="248"/>
                    <a:pt x="58" y="248"/>
                    <a:pt x="58" y="247"/>
                  </a:cubicBezTo>
                  <a:cubicBezTo>
                    <a:pt x="59" y="245"/>
                    <a:pt x="58" y="242"/>
                    <a:pt x="58" y="241"/>
                  </a:cubicBezTo>
                  <a:cubicBezTo>
                    <a:pt x="57" y="240"/>
                    <a:pt x="57" y="239"/>
                    <a:pt x="57" y="239"/>
                  </a:cubicBezTo>
                  <a:cubicBezTo>
                    <a:pt x="58" y="239"/>
                    <a:pt x="58" y="238"/>
                    <a:pt x="58" y="238"/>
                  </a:cubicBezTo>
                  <a:cubicBezTo>
                    <a:pt x="58" y="239"/>
                    <a:pt x="58" y="241"/>
                    <a:pt x="59" y="242"/>
                  </a:cubicBezTo>
                  <a:cubicBezTo>
                    <a:pt x="60" y="244"/>
                    <a:pt x="62" y="244"/>
                    <a:pt x="64" y="244"/>
                  </a:cubicBezTo>
                  <a:cubicBezTo>
                    <a:pt x="64" y="244"/>
                    <a:pt x="64" y="244"/>
                    <a:pt x="64" y="244"/>
                  </a:cubicBezTo>
                  <a:cubicBezTo>
                    <a:pt x="64" y="244"/>
                    <a:pt x="63" y="245"/>
                    <a:pt x="62" y="245"/>
                  </a:cubicBezTo>
                  <a:close/>
                  <a:moveTo>
                    <a:pt x="57" y="249"/>
                  </a:moveTo>
                  <a:cubicBezTo>
                    <a:pt x="55" y="253"/>
                    <a:pt x="57" y="255"/>
                    <a:pt x="58" y="257"/>
                  </a:cubicBezTo>
                  <a:cubicBezTo>
                    <a:pt x="58" y="257"/>
                    <a:pt x="59" y="258"/>
                    <a:pt x="59" y="258"/>
                  </a:cubicBezTo>
                  <a:cubicBezTo>
                    <a:pt x="59" y="258"/>
                    <a:pt x="59" y="259"/>
                    <a:pt x="59" y="260"/>
                  </a:cubicBezTo>
                  <a:cubicBezTo>
                    <a:pt x="59" y="262"/>
                    <a:pt x="58" y="265"/>
                    <a:pt x="60" y="267"/>
                  </a:cubicBezTo>
                  <a:cubicBezTo>
                    <a:pt x="62" y="269"/>
                    <a:pt x="65" y="269"/>
                    <a:pt x="66" y="269"/>
                  </a:cubicBezTo>
                  <a:cubicBezTo>
                    <a:pt x="66" y="269"/>
                    <a:pt x="67" y="269"/>
                    <a:pt x="67" y="269"/>
                  </a:cubicBezTo>
                  <a:cubicBezTo>
                    <a:pt x="66" y="269"/>
                    <a:pt x="65" y="270"/>
                    <a:pt x="64" y="270"/>
                  </a:cubicBezTo>
                  <a:cubicBezTo>
                    <a:pt x="63" y="270"/>
                    <a:pt x="63" y="270"/>
                    <a:pt x="62" y="269"/>
                  </a:cubicBezTo>
                  <a:cubicBezTo>
                    <a:pt x="59" y="268"/>
                    <a:pt x="55" y="265"/>
                    <a:pt x="52" y="262"/>
                  </a:cubicBezTo>
                  <a:cubicBezTo>
                    <a:pt x="52" y="262"/>
                    <a:pt x="51" y="261"/>
                    <a:pt x="50" y="261"/>
                  </a:cubicBezTo>
                  <a:cubicBezTo>
                    <a:pt x="48" y="259"/>
                    <a:pt x="46" y="257"/>
                    <a:pt x="44" y="254"/>
                  </a:cubicBezTo>
                  <a:cubicBezTo>
                    <a:pt x="46" y="255"/>
                    <a:pt x="47" y="255"/>
                    <a:pt x="48" y="255"/>
                  </a:cubicBezTo>
                  <a:cubicBezTo>
                    <a:pt x="49" y="255"/>
                    <a:pt x="49" y="255"/>
                    <a:pt x="49" y="255"/>
                  </a:cubicBezTo>
                  <a:cubicBezTo>
                    <a:pt x="49" y="255"/>
                    <a:pt x="49" y="255"/>
                    <a:pt x="49" y="255"/>
                  </a:cubicBezTo>
                  <a:cubicBezTo>
                    <a:pt x="52" y="254"/>
                    <a:pt x="55" y="252"/>
                    <a:pt x="57" y="249"/>
                  </a:cubicBezTo>
                  <a:close/>
                  <a:moveTo>
                    <a:pt x="98" y="306"/>
                  </a:moveTo>
                  <a:cubicBezTo>
                    <a:pt x="97" y="304"/>
                    <a:pt x="96" y="303"/>
                    <a:pt x="95" y="301"/>
                  </a:cubicBezTo>
                  <a:cubicBezTo>
                    <a:pt x="93" y="297"/>
                    <a:pt x="91" y="293"/>
                    <a:pt x="88" y="289"/>
                  </a:cubicBezTo>
                  <a:cubicBezTo>
                    <a:pt x="86" y="286"/>
                    <a:pt x="86" y="284"/>
                    <a:pt x="86" y="284"/>
                  </a:cubicBezTo>
                  <a:cubicBezTo>
                    <a:pt x="86" y="284"/>
                    <a:pt x="87" y="283"/>
                    <a:pt x="87" y="283"/>
                  </a:cubicBezTo>
                  <a:cubicBezTo>
                    <a:pt x="88" y="283"/>
                    <a:pt x="88" y="284"/>
                    <a:pt x="89" y="284"/>
                  </a:cubicBezTo>
                  <a:cubicBezTo>
                    <a:pt x="89" y="284"/>
                    <a:pt x="90" y="284"/>
                    <a:pt x="90" y="284"/>
                  </a:cubicBezTo>
                  <a:cubicBezTo>
                    <a:pt x="91" y="284"/>
                    <a:pt x="93" y="284"/>
                    <a:pt x="94" y="282"/>
                  </a:cubicBezTo>
                  <a:cubicBezTo>
                    <a:pt x="96" y="280"/>
                    <a:pt x="96" y="278"/>
                    <a:pt x="96" y="277"/>
                  </a:cubicBezTo>
                  <a:cubicBezTo>
                    <a:pt x="96" y="274"/>
                    <a:pt x="96" y="274"/>
                    <a:pt x="96" y="274"/>
                  </a:cubicBezTo>
                  <a:cubicBezTo>
                    <a:pt x="93" y="274"/>
                    <a:pt x="93" y="274"/>
                    <a:pt x="93" y="274"/>
                  </a:cubicBezTo>
                  <a:cubicBezTo>
                    <a:pt x="92" y="274"/>
                    <a:pt x="91" y="274"/>
                    <a:pt x="90" y="274"/>
                  </a:cubicBezTo>
                  <a:cubicBezTo>
                    <a:pt x="88" y="274"/>
                    <a:pt x="86" y="274"/>
                    <a:pt x="85" y="273"/>
                  </a:cubicBezTo>
                  <a:cubicBezTo>
                    <a:pt x="84" y="273"/>
                    <a:pt x="83" y="272"/>
                    <a:pt x="82" y="271"/>
                  </a:cubicBezTo>
                  <a:cubicBezTo>
                    <a:pt x="81" y="271"/>
                    <a:pt x="81" y="270"/>
                    <a:pt x="80" y="269"/>
                  </a:cubicBezTo>
                  <a:cubicBezTo>
                    <a:pt x="81" y="269"/>
                    <a:pt x="82" y="268"/>
                    <a:pt x="82" y="267"/>
                  </a:cubicBezTo>
                  <a:cubicBezTo>
                    <a:pt x="85" y="264"/>
                    <a:pt x="86" y="260"/>
                    <a:pt x="88" y="256"/>
                  </a:cubicBezTo>
                  <a:cubicBezTo>
                    <a:pt x="88" y="254"/>
                    <a:pt x="88" y="254"/>
                    <a:pt x="88" y="254"/>
                  </a:cubicBezTo>
                  <a:cubicBezTo>
                    <a:pt x="90" y="251"/>
                    <a:pt x="91" y="249"/>
                    <a:pt x="93" y="249"/>
                  </a:cubicBezTo>
                  <a:cubicBezTo>
                    <a:pt x="93" y="249"/>
                    <a:pt x="93" y="249"/>
                    <a:pt x="94" y="249"/>
                  </a:cubicBezTo>
                  <a:cubicBezTo>
                    <a:pt x="99" y="249"/>
                    <a:pt x="107" y="255"/>
                    <a:pt x="109" y="259"/>
                  </a:cubicBezTo>
                  <a:cubicBezTo>
                    <a:pt x="115" y="273"/>
                    <a:pt x="118" y="290"/>
                    <a:pt x="119" y="305"/>
                  </a:cubicBezTo>
                  <a:cubicBezTo>
                    <a:pt x="120" y="309"/>
                    <a:pt x="120" y="309"/>
                    <a:pt x="120" y="309"/>
                  </a:cubicBezTo>
                  <a:cubicBezTo>
                    <a:pt x="121" y="314"/>
                    <a:pt x="122" y="318"/>
                    <a:pt x="123" y="321"/>
                  </a:cubicBezTo>
                  <a:cubicBezTo>
                    <a:pt x="123" y="322"/>
                    <a:pt x="123" y="323"/>
                    <a:pt x="124" y="325"/>
                  </a:cubicBezTo>
                  <a:cubicBezTo>
                    <a:pt x="124" y="326"/>
                    <a:pt x="125" y="330"/>
                    <a:pt x="125" y="331"/>
                  </a:cubicBezTo>
                  <a:cubicBezTo>
                    <a:pt x="125" y="331"/>
                    <a:pt x="124" y="331"/>
                    <a:pt x="124" y="332"/>
                  </a:cubicBezTo>
                  <a:cubicBezTo>
                    <a:pt x="123" y="332"/>
                    <a:pt x="122" y="332"/>
                    <a:pt x="121" y="333"/>
                  </a:cubicBezTo>
                  <a:cubicBezTo>
                    <a:pt x="121" y="330"/>
                    <a:pt x="120" y="324"/>
                    <a:pt x="119" y="321"/>
                  </a:cubicBezTo>
                  <a:cubicBezTo>
                    <a:pt x="117" y="317"/>
                    <a:pt x="114" y="315"/>
                    <a:pt x="110" y="314"/>
                  </a:cubicBezTo>
                  <a:cubicBezTo>
                    <a:pt x="109" y="314"/>
                    <a:pt x="108" y="314"/>
                    <a:pt x="108" y="314"/>
                  </a:cubicBezTo>
                  <a:cubicBezTo>
                    <a:pt x="103" y="314"/>
                    <a:pt x="102" y="317"/>
                    <a:pt x="102" y="319"/>
                  </a:cubicBezTo>
                  <a:cubicBezTo>
                    <a:pt x="101" y="316"/>
                    <a:pt x="100" y="313"/>
                    <a:pt x="100" y="311"/>
                  </a:cubicBezTo>
                  <a:cubicBezTo>
                    <a:pt x="99" y="308"/>
                    <a:pt x="98" y="307"/>
                    <a:pt x="98" y="306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2" name="Freeform 61"/>
            <p:cNvSpPr>
              <a:spLocks/>
            </p:cNvSpPr>
            <p:nvPr/>
          </p:nvSpPr>
          <p:spPr bwMode="auto">
            <a:xfrm>
              <a:off x="22217589" y="8350420"/>
              <a:ext cx="266727" cy="313584"/>
            </a:xfrm>
            <a:custGeom>
              <a:avLst/>
              <a:gdLst>
                <a:gd name="T0" fmla="*/ 47 w 49"/>
                <a:gd name="T1" fmla="*/ 27 h 63"/>
                <a:gd name="T2" fmla="*/ 42 w 49"/>
                <a:gd name="T3" fmla="*/ 24 h 63"/>
                <a:gd name="T4" fmla="*/ 41 w 49"/>
                <a:gd name="T5" fmla="*/ 24 h 63"/>
                <a:gd name="T6" fmla="*/ 40 w 49"/>
                <a:gd name="T7" fmla="*/ 23 h 63"/>
                <a:gd name="T8" fmla="*/ 37 w 49"/>
                <a:gd name="T9" fmla="*/ 22 h 63"/>
                <a:gd name="T10" fmla="*/ 34 w 49"/>
                <a:gd name="T11" fmla="*/ 21 h 63"/>
                <a:gd name="T12" fmla="*/ 26 w 49"/>
                <a:gd name="T13" fmla="*/ 23 h 63"/>
                <a:gd name="T14" fmla="*/ 26 w 49"/>
                <a:gd name="T15" fmla="*/ 19 h 63"/>
                <a:gd name="T16" fmla="*/ 25 w 49"/>
                <a:gd name="T17" fmla="*/ 15 h 63"/>
                <a:gd name="T18" fmla="*/ 23 w 49"/>
                <a:gd name="T19" fmla="*/ 8 h 63"/>
                <a:gd name="T20" fmla="*/ 18 w 49"/>
                <a:gd name="T21" fmla="*/ 6 h 63"/>
                <a:gd name="T22" fmla="*/ 18 w 49"/>
                <a:gd name="T23" fmla="*/ 5 h 63"/>
                <a:gd name="T24" fmla="*/ 18 w 49"/>
                <a:gd name="T25" fmla="*/ 6 h 63"/>
                <a:gd name="T26" fmla="*/ 18 w 49"/>
                <a:gd name="T27" fmla="*/ 5 h 63"/>
                <a:gd name="T28" fmla="*/ 17 w 49"/>
                <a:gd name="T29" fmla="*/ 4 h 63"/>
                <a:gd name="T30" fmla="*/ 12 w 49"/>
                <a:gd name="T31" fmla="*/ 0 h 63"/>
                <a:gd name="T32" fmla="*/ 8 w 49"/>
                <a:gd name="T33" fmla="*/ 2 h 63"/>
                <a:gd name="T34" fmla="*/ 5 w 49"/>
                <a:gd name="T35" fmla="*/ 12 h 63"/>
                <a:gd name="T36" fmla="*/ 5 w 49"/>
                <a:gd name="T37" fmla="*/ 15 h 63"/>
                <a:gd name="T38" fmla="*/ 3 w 49"/>
                <a:gd name="T39" fmla="*/ 30 h 63"/>
                <a:gd name="T40" fmla="*/ 2 w 49"/>
                <a:gd name="T41" fmla="*/ 44 h 63"/>
                <a:gd name="T42" fmla="*/ 7 w 49"/>
                <a:gd name="T43" fmla="*/ 60 h 63"/>
                <a:gd name="T44" fmla="*/ 14 w 49"/>
                <a:gd name="T45" fmla="*/ 63 h 63"/>
                <a:gd name="T46" fmla="*/ 20 w 49"/>
                <a:gd name="T47" fmla="*/ 61 h 63"/>
                <a:gd name="T48" fmla="*/ 23 w 49"/>
                <a:gd name="T49" fmla="*/ 55 h 63"/>
                <a:gd name="T50" fmla="*/ 24 w 49"/>
                <a:gd name="T51" fmla="*/ 54 h 63"/>
                <a:gd name="T52" fmla="*/ 27 w 49"/>
                <a:gd name="T53" fmla="*/ 61 h 63"/>
                <a:gd name="T54" fmla="*/ 30 w 49"/>
                <a:gd name="T55" fmla="*/ 62 h 63"/>
                <a:gd name="T56" fmla="*/ 30 w 49"/>
                <a:gd name="T57" fmla="*/ 62 h 63"/>
                <a:gd name="T58" fmla="*/ 41 w 49"/>
                <a:gd name="T59" fmla="*/ 53 h 63"/>
                <a:gd name="T60" fmla="*/ 41 w 49"/>
                <a:gd name="T61" fmla="*/ 53 h 63"/>
                <a:gd name="T62" fmla="*/ 47 w 49"/>
                <a:gd name="T63" fmla="*/ 39 h 63"/>
                <a:gd name="T64" fmla="*/ 48 w 49"/>
                <a:gd name="T65" fmla="*/ 37 h 63"/>
                <a:gd name="T66" fmla="*/ 47 w 49"/>
                <a:gd name="T67" fmla="*/ 2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9" h="63">
                  <a:moveTo>
                    <a:pt x="47" y="27"/>
                  </a:moveTo>
                  <a:cubicBezTo>
                    <a:pt x="46" y="25"/>
                    <a:pt x="44" y="24"/>
                    <a:pt x="42" y="24"/>
                  </a:cubicBezTo>
                  <a:cubicBezTo>
                    <a:pt x="42" y="24"/>
                    <a:pt x="41" y="24"/>
                    <a:pt x="41" y="24"/>
                  </a:cubicBezTo>
                  <a:cubicBezTo>
                    <a:pt x="41" y="24"/>
                    <a:pt x="40" y="23"/>
                    <a:pt x="40" y="23"/>
                  </a:cubicBezTo>
                  <a:cubicBezTo>
                    <a:pt x="39" y="23"/>
                    <a:pt x="38" y="22"/>
                    <a:pt x="37" y="22"/>
                  </a:cubicBezTo>
                  <a:cubicBezTo>
                    <a:pt x="36" y="22"/>
                    <a:pt x="35" y="21"/>
                    <a:pt x="34" y="21"/>
                  </a:cubicBezTo>
                  <a:cubicBezTo>
                    <a:pt x="31" y="21"/>
                    <a:pt x="28" y="22"/>
                    <a:pt x="26" y="23"/>
                  </a:cubicBezTo>
                  <a:cubicBezTo>
                    <a:pt x="26" y="22"/>
                    <a:pt x="26" y="20"/>
                    <a:pt x="26" y="19"/>
                  </a:cubicBezTo>
                  <a:cubicBezTo>
                    <a:pt x="25" y="17"/>
                    <a:pt x="25" y="16"/>
                    <a:pt x="25" y="15"/>
                  </a:cubicBezTo>
                  <a:cubicBezTo>
                    <a:pt x="25" y="13"/>
                    <a:pt x="24" y="10"/>
                    <a:pt x="23" y="8"/>
                  </a:cubicBezTo>
                  <a:cubicBezTo>
                    <a:pt x="21" y="6"/>
                    <a:pt x="19" y="6"/>
                    <a:pt x="18" y="6"/>
                  </a:cubicBezTo>
                  <a:cubicBezTo>
                    <a:pt x="18" y="6"/>
                    <a:pt x="18" y="5"/>
                    <a:pt x="18" y="5"/>
                  </a:cubicBezTo>
                  <a:cubicBezTo>
                    <a:pt x="18" y="5"/>
                    <a:pt x="18" y="6"/>
                    <a:pt x="18" y="6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4"/>
                    <a:pt x="17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10" y="0"/>
                    <a:pt x="9" y="1"/>
                    <a:pt x="8" y="2"/>
                  </a:cubicBezTo>
                  <a:cubicBezTo>
                    <a:pt x="4" y="4"/>
                    <a:pt x="5" y="9"/>
                    <a:pt x="5" y="12"/>
                  </a:cubicBezTo>
                  <a:cubicBezTo>
                    <a:pt x="5" y="13"/>
                    <a:pt x="5" y="14"/>
                    <a:pt x="5" y="15"/>
                  </a:cubicBezTo>
                  <a:cubicBezTo>
                    <a:pt x="3" y="20"/>
                    <a:pt x="3" y="25"/>
                    <a:pt x="3" y="30"/>
                  </a:cubicBezTo>
                  <a:cubicBezTo>
                    <a:pt x="4" y="35"/>
                    <a:pt x="3" y="39"/>
                    <a:pt x="2" y="44"/>
                  </a:cubicBezTo>
                  <a:cubicBezTo>
                    <a:pt x="0" y="51"/>
                    <a:pt x="2" y="57"/>
                    <a:pt x="7" y="60"/>
                  </a:cubicBezTo>
                  <a:cubicBezTo>
                    <a:pt x="9" y="62"/>
                    <a:pt x="12" y="63"/>
                    <a:pt x="14" y="63"/>
                  </a:cubicBezTo>
                  <a:cubicBezTo>
                    <a:pt x="16" y="63"/>
                    <a:pt x="18" y="62"/>
                    <a:pt x="20" y="61"/>
                  </a:cubicBezTo>
                  <a:cubicBezTo>
                    <a:pt x="22" y="59"/>
                    <a:pt x="23" y="57"/>
                    <a:pt x="23" y="55"/>
                  </a:cubicBezTo>
                  <a:cubicBezTo>
                    <a:pt x="23" y="55"/>
                    <a:pt x="23" y="55"/>
                    <a:pt x="24" y="54"/>
                  </a:cubicBezTo>
                  <a:cubicBezTo>
                    <a:pt x="23" y="57"/>
                    <a:pt x="24" y="59"/>
                    <a:pt x="27" y="61"/>
                  </a:cubicBezTo>
                  <a:cubicBezTo>
                    <a:pt x="28" y="61"/>
                    <a:pt x="29" y="62"/>
                    <a:pt x="30" y="62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4" y="62"/>
                    <a:pt x="38" y="57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4" y="49"/>
                    <a:pt x="47" y="45"/>
                    <a:pt x="47" y="39"/>
                  </a:cubicBezTo>
                  <a:cubicBezTo>
                    <a:pt x="47" y="39"/>
                    <a:pt x="47" y="38"/>
                    <a:pt x="48" y="37"/>
                  </a:cubicBezTo>
                  <a:cubicBezTo>
                    <a:pt x="48" y="34"/>
                    <a:pt x="49" y="30"/>
                    <a:pt x="47" y="27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3" name="Freeform 62"/>
            <p:cNvSpPr>
              <a:spLocks/>
            </p:cNvSpPr>
            <p:nvPr/>
          </p:nvSpPr>
          <p:spPr bwMode="auto">
            <a:xfrm>
              <a:off x="21497425" y="8003238"/>
              <a:ext cx="451385" cy="130660"/>
            </a:xfrm>
            <a:custGeom>
              <a:avLst/>
              <a:gdLst>
                <a:gd name="T0" fmla="*/ 82 w 83"/>
                <a:gd name="T1" fmla="*/ 10 h 26"/>
                <a:gd name="T2" fmla="*/ 71 w 83"/>
                <a:gd name="T3" fmla="*/ 3 h 26"/>
                <a:gd name="T4" fmla="*/ 66 w 83"/>
                <a:gd name="T5" fmla="*/ 3 h 26"/>
                <a:gd name="T6" fmla="*/ 61 w 83"/>
                <a:gd name="T7" fmla="*/ 4 h 26"/>
                <a:gd name="T8" fmla="*/ 59 w 83"/>
                <a:gd name="T9" fmla="*/ 3 h 26"/>
                <a:gd name="T10" fmla="*/ 52 w 83"/>
                <a:gd name="T11" fmla="*/ 2 h 26"/>
                <a:gd name="T12" fmla="*/ 39 w 83"/>
                <a:gd name="T13" fmla="*/ 0 h 26"/>
                <a:gd name="T14" fmla="*/ 33 w 83"/>
                <a:gd name="T15" fmla="*/ 1 h 26"/>
                <a:gd name="T16" fmla="*/ 30 w 83"/>
                <a:gd name="T17" fmla="*/ 1 h 26"/>
                <a:gd name="T18" fmla="*/ 15 w 83"/>
                <a:gd name="T19" fmla="*/ 4 h 26"/>
                <a:gd name="T20" fmla="*/ 1 w 83"/>
                <a:gd name="T21" fmla="*/ 11 h 26"/>
                <a:gd name="T22" fmla="*/ 2 w 83"/>
                <a:gd name="T23" fmla="*/ 16 h 26"/>
                <a:gd name="T24" fmla="*/ 11 w 83"/>
                <a:gd name="T25" fmla="*/ 19 h 26"/>
                <a:gd name="T26" fmla="*/ 13 w 83"/>
                <a:gd name="T27" fmla="*/ 19 h 26"/>
                <a:gd name="T28" fmla="*/ 16 w 83"/>
                <a:gd name="T29" fmla="*/ 19 h 26"/>
                <a:gd name="T30" fmla="*/ 23 w 83"/>
                <a:gd name="T31" fmla="*/ 20 h 26"/>
                <a:gd name="T32" fmla="*/ 24 w 83"/>
                <a:gd name="T33" fmla="*/ 22 h 26"/>
                <a:gd name="T34" fmla="*/ 28 w 83"/>
                <a:gd name="T35" fmla="*/ 24 h 26"/>
                <a:gd name="T36" fmla="*/ 35 w 83"/>
                <a:gd name="T37" fmla="*/ 25 h 26"/>
                <a:gd name="T38" fmla="*/ 37 w 83"/>
                <a:gd name="T39" fmla="*/ 25 h 26"/>
                <a:gd name="T40" fmla="*/ 40 w 83"/>
                <a:gd name="T41" fmla="*/ 25 h 26"/>
                <a:gd name="T42" fmla="*/ 42 w 83"/>
                <a:gd name="T43" fmla="*/ 26 h 26"/>
                <a:gd name="T44" fmla="*/ 46 w 83"/>
                <a:gd name="T45" fmla="*/ 26 h 26"/>
                <a:gd name="T46" fmla="*/ 48 w 83"/>
                <a:gd name="T47" fmla="*/ 26 h 26"/>
                <a:gd name="T48" fmla="*/ 55 w 83"/>
                <a:gd name="T49" fmla="*/ 25 h 26"/>
                <a:gd name="T50" fmla="*/ 64 w 83"/>
                <a:gd name="T51" fmla="*/ 24 h 26"/>
                <a:gd name="T52" fmla="*/ 76 w 83"/>
                <a:gd name="T53" fmla="*/ 20 h 26"/>
                <a:gd name="T54" fmla="*/ 77 w 83"/>
                <a:gd name="T55" fmla="*/ 19 h 26"/>
                <a:gd name="T56" fmla="*/ 82 w 83"/>
                <a:gd name="T57" fmla="*/ 1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3" h="26">
                  <a:moveTo>
                    <a:pt x="82" y="10"/>
                  </a:moveTo>
                  <a:cubicBezTo>
                    <a:pt x="81" y="5"/>
                    <a:pt x="74" y="3"/>
                    <a:pt x="71" y="3"/>
                  </a:cubicBezTo>
                  <a:cubicBezTo>
                    <a:pt x="69" y="3"/>
                    <a:pt x="67" y="3"/>
                    <a:pt x="66" y="3"/>
                  </a:cubicBezTo>
                  <a:cubicBezTo>
                    <a:pt x="64" y="4"/>
                    <a:pt x="63" y="4"/>
                    <a:pt x="61" y="4"/>
                  </a:cubicBezTo>
                  <a:cubicBezTo>
                    <a:pt x="60" y="4"/>
                    <a:pt x="59" y="4"/>
                    <a:pt x="59" y="3"/>
                  </a:cubicBezTo>
                  <a:cubicBezTo>
                    <a:pt x="56" y="3"/>
                    <a:pt x="54" y="3"/>
                    <a:pt x="52" y="2"/>
                  </a:cubicBezTo>
                  <a:cubicBezTo>
                    <a:pt x="48" y="1"/>
                    <a:pt x="43" y="0"/>
                    <a:pt x="39" y="0"/>
                  </a:cubicBezTo>
                  <a:cubicBezTo>
                    <a:pt x="37" y="0"/>
                    <a:pt x="35" y="0"/>
                    <a:pt x="33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25" y="3"/>
                    <a:pt x="20" y="4"/>
                    <a:pt x="15" y="4"/>
                  </a:cubicBezTo>
                  <a:cubicBezTo>
                    <a:pt x="11" y="5"/>
                    <a:pt x="3" y="5"/>
                    <a:pt x="1" y="11"/>
                  </a:cubicBezTo>
                  <a:cubicBezTo>
                    <a:pt x="0" y="13"/>
                    <a:pt x="1" y="15"/>
                    <a:pt x="2" y="16"/>
                  </a:cubicBezTo>
                  <a:cubicBezTo>
                    <a:pt x="4" y="19"/>
                    <a:pt x="8" y="19"/>
                    <a:pt x="11" y="19"/>
                  </a:cubicBezTo>
                  <a:cubicBezTo>
                    <a:pt x="12" y="19"/>
                    <a:pt x="12" y="19"/>
                    <a:pt x="13" y="19"/>
                  </a:cubicBezTo>
                  <a:cubicBezTo>
                    <a:pt x="13" y="19"/>
                    <a:pt x="15" y="19"/>
                    <a:pt x="16" y="19"/>
                  </a:cubicBezTo>
                  <a:cubicBezTo>
                    <a:pt x="18" y="19"/>
                    <a:pt x="21" y="19"/>
                    <a:pt x="23" y="20"/>
                  </a:cubicBezTo>
                  <a:cubicBezTo>
                    <a:pt x="23" y="20"/>
                    <a:pt x="23" y="21"/>
                    <a:pt x="24" y="22"/>
                  </a:cubicBezTo>
                  <a:cubicBezTo>
                    <a:pt x="25" y="23"/>
                    <a:pt x="27" y="24"/>
                    <a:pt x="28" y="24"/>
                  </a:cubicBezTo>
                  <a:cubicBezTo>
                    <a:pt x="30" y="25"/>
                    <a:pt x="33" y="25"/>
                    <a:pt x="35" y="25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5"/>
                    <a:pt x="39" y="25"/>
                    <a:pt x="40" y="25"/>
                  </a:cubicBezTo>
                  <a:cubicBezTo>
                    <a:pt x="40" y="25"/>
                    <a:pt x="41" y="26"/>
                    <a:pt x="42" y="26"/>
                  </a:cubicBezTo>
                  <a:cubicBezTo>
                    <a:pt x="43" y="26"/>
                    <a:pt x="45" y="26"/>
                    <a:pt x="46" y="26"/>
                  </a:cubicBezTo>
                  <a:cubicBezTo>
                    <a:pt x="47" y="26"/>
                    <a:pt x="47" y="26"/>
                    <a:pt x="48" y="26"/>
                  </a:cubicBezTo>
                  <a:cubicBezTo>
                    <a:pt x="50" y="26"/>
                    <a:pt x="53" y="26"/>
                    <a:pt x="55" y="25"/>
                  </a:cubicBezTo>
                  <a:cubicBezTo>
                    <a:pt x="58" y="25"/>
                    <a:pt x="61" y="24"/>
                    <a:pt x="64" y="24"/>
                  </a:cubicBezTo>
                  <a:cubicBezTo>
                    <a:pt x="68" y="24"/>
                    <a:pt x="72" y="23"/>
                    <a:pt x="76" y="20"/>
                  </a:cubicBezTo>
                  <a:cubicBezTo>
                    <a:pt x="76" y="19"/>
                    <a:pt x="77" y="19"/>
                    <a:pt x="77" y="19"/>
                  </a:cubicBezTo>
                  <a:cubicBezTo>
                    <a:pt x="79" y="17"/>
                    <a:pt x="83" y="14"/>
                    <a:pt x="82" y="10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4" name="Freeform 63"/>
            <p:cNvSpPr>
              <a:spLocks noEditPoints="1"/>
            </p:cNvSpPr>
            <p:nvPr/>
          </p:nvSpPr>
          <p:spPr bwMode="auto">
            <a:xfrm>
              <a:off x="14482495" y="3868786"/>
              <a:ext cx="2496979" cy="2756924"/>
            </a:xfrm>
            <a:custGeom>
              <a:avLst/>
              <a:gdLst>
                <a:gd name="T0" fmla="*/ 230 w 458"/>
                <a:gd name="T1" fmla="*/ 169 h 556"/>
                <a:gd name="T2" fmla="*/ 248 w 458"/>
                <a:gd name="T3" fmla="*/ 90 h 556"/>
                <a:gd name="T4" fmla="*/ 223 w 458"/>
                <a:gd name="T5" fmla="*/ 97 h 556"/>
                <a:gd name="T6" fmla="*/ 230 w 458"/>
                <a:gd name="T7" fmla="*/ 67 h 556"/>
                <a:gd name="T8" fmla="*/ 212 w 458"/>
                <a:gd name="T9" fmla="*/ 74 h 556"/>
                <a:gd name="T10" fmla="*/ 200 w 458"/>
                <a:gd name="T11" fmla="*/ 71 h 556"/>
                <a:gd name="T12" fmla="*/ 202 w 458"/>
                <a:gd name="T13" fmla="*/ 59 h 556"/>
                <a:gd name="T14" fmla="*/ 203 w 458"/>
                <a:gd name="T15" fmla="*/ 29 h 556"/>
                <a:gd name="T16" fmla="*/ 183 w 458"/>
                <a:gd name="T17" fmla="*/ 42 h 556"/>
                <a:gd name="T18" fmla="*/ 173 w 458"/>
                <a:gd name="T19" fmla="*/ 44 h 556"/>
                <a:gd name="T20" fmla="*/ 176 w 458"/>
                <a:gd name="T21" fmla="*/ 30 h 556"/>
                <a:gd name="T22" fmla="*/ 167 w 458"/>
                <a:gd name="T23" fmla="*/ 23 h 556"/>
                <a:gd name="T24" fmla="*/ 147 w 458"/>
                <a:gd name="T25" fmla="*/ 21 h 556"/>
                <a:gd name="T26" fmla="*/ 124 w 458"/>
                <a:gd name="T27" fmla="*/ 20 h 556"/>
                <a:gd name="T28" fmla="*/ 107 w 458"/>
                <a:gd name="T29" fmla="*/ 5 h 556"/>
                <a:gd name="T30" fmla="*/ 93 w 458"/>
                <a:gd name="T31" fmla="*/ 5 h 556"/>
                <a:gd name="T32" fmla="*/ 80 w 458"/>
                <a:gd name="T33" fmla="*/ 7 h 556"/>
                <a:gd name="T34" fmla="*/ 69 w 458"/>
                <a:gd name="T35" fmla="*/ 13 h 556"/>
                <a:gd name="T36" fmla="*/ 42 w 458"/>
                <a:gd name="T37" fmla="*/ 49 h 556"/>
                <a:gd name="T38" fmla="*/ 51 w 458"/>
                <a:gd name="T39" fmla="*/ 86 h 556"/>
                <a:gd name="T40" fmla="*/ 25 w 458"/>
                <a:gd name="T41" fmla="*/ 155 h 556"/>
                <a:gd name="T42" fmla="*/ 22 w 458"/>
                <a:gd name="T43" fmla="*/ 203 h 556"/>
                <a:gd name="T44" fmla="*/ 14 w 458"/>
                <a:gd name="T45" fmla="*/ 243 h 556"/>
                <a:gd name="T46" fmla="*/ 3 w 458"/>
                <a:gd name="T47" fmla="*/ 288 h 556"/>
                <a:gd name="T48" fmla="*/ 13 w 458"/>
                <a:gd name="T49" fmla="*/ 341 h 556"/>
                <a:gd name="T50" fmla="*/ 30 w 458"/>
                <a:gd name="T51" fmla="*/ 367 h 556"/>
                <a:gd name="T52" fmla="*/ 40 w 458"/>
                <a:gd name="T53" fmla="*/ 382 h 556"/>
                <a:gd name="T54" fmla="*/ 39 w 458"/>
                <a:gd name="T55" fmla="*/ 407 h 556"/>
                <a:gd name="T56" fmla="*/ 457 w 458"/>
                <a:gd name="T57" fmla="*/ 403 h 556"/>
                <a:gd name="T58" fmla="*/ 111 w 458"/>
                <a:gd name="T59" fmla="*/ 37 h 556"/>
                <a:gd name="T60" fmla="*/ 232 w 458"/>
                <a:gd name="T61" fmla="*/ 212 h 556"/>
                <a:gd name="T62" fmla="*/ 208 w 458"/>
                <a:gd name="T63" fmla="*/ 222 h 556"/>
                <a:gd name="T64" fmla="*/ 226 w 458"/>
                <a:gd name="T65" fmla="*/ 238 h 556"/>
                <a:gd name="T66" fmla="*/ 243 w 458"/>
                <a:gd name="T67" fmla="*/ 243 h 556"/>
                <a:gd name="T68" fmla="*/ 226 w 458"/>
                <a:gd name="T69" fmla="*/ 258 h 556"/>
                <a:gd name="T70" fmla="*/ 200 w 458"/>
                <a:gd name="T71" fmla="*/ 259 h 556"/>
                <a:gd name="T72" fmla="*/ 185 w 458"/>
                <a:gd name="T73" fmla="*/ 265 h 556"/>
                <a:gd name="T74" fmla="*/ 179 w 458"/>
                <a:gd name="T75" fmla="*/ 245 h 556"/>
                <a:gd name="T76" fmla="*/ 152 w 458"/>
                <a:gd name="T77" fmla="*/ 246 h 556"/>
                <a:gd name="T78" fmla="*/ 169 w 458"/>
                <a:gd name="T79" fmla="*/ 236 h 556"/>
                <a:gd name="T80" fmla="*/ 194 w 458"/>
                <a:gd name="T81" fmla="*/ 233 h 556"/>
                <a:gd name="T82" fmla="*/ 171 w 458"/>
                <a:gd name="T83" fmla="*/ 207 h 556"/>
                <a:gd name="T84" fmla="*/ 157 w 458"/>
                <a:gd name="T85" fmla="*/ 199 h 556"/>
                <a:gd name="T86" fmla="*/ 169 w 458"/>
                <a:gd name="T87" fmla="*/ 199 h 556"/>
                <a:gd name="T88" fmla="*/ 202 w 458"/>
                <a:gd name="T89" fmla="*/ 208 h 556"/>
                <a:gd name="T90" fmla="*/ 144 w 458"/>
                <a:gd name="T91" fmla="*/ 195 h 556"/>
                <a:gd name="T92" fmla="*/ 151 w 458"/>
                <a:gd name="T93" fmla="*/ 197 h 556"/>
                <a:gd name="T94" fmla="*/ 146 w 458"/>
                <a:gd name="T95" fmla="*/ 42 h 556"/>
                <a:gd name="T96" fmla="*/ 144 w 458"/>
                <a:gd name="T97" fmla="*/ 36 h 556"/>
                <a:gd name="T98" fmla="*/ 310 w 458"/>
                <a:gd name="T99" fmla="*/ 417 h 556"/>
                <a:gd name="T100" fmla="*/ 291 w 458"/>
                <a:gd name="T101" fmla="*/ 423 h 556"/>
                <a:gd name="T102" fmla="*/ 240 w 458"/>
                <a:gd name="T103" fmla="*/ 442 h 556"/>
                <a:gd name="T104" fmla="*/ 223 w 458"/>
                <a:gd name="T105" fmla="*/ 452 h 556"/>
                <a:gd name="T106" fmla="*/ 196 w 458"/>
                <a:gd name="T107" fmla="*/ 448 h 556"/>
                <a:gd name="T108" fmla="*/ 192 w 458"/>
                <a:gd name="T109" fmla="*/ 435 h 556"/>
                <a:gd name="T110" fmla="*/ 221 w 458"/>
                <a:gd name="T111" fmla="*/ 425 h 556"/>
                <a:gd name="T112" fmla="*/ 218 w 458"/>
                <a:gd name="T113" fmla="*/ 383 h 556"/>
                <a:gd name="T114" fmla="*/ 260 w 458"/>
                <a:gd name="T115" fmla="*/ 431 h 556"/>
                <a:gd name="T116" fmla="*/ 283 w 458"/>
                <a:gd name="T117" fmla="*/ 421 h 556"/>
                <a:gd name="T118" fmla="*/ 313 w 458"/>
                <a:gd name="T119" fmla="*/ 412 h 556"/>
                <a:gd name="T120" fmla="*/ 311 w 458"/>
                <a:gd name="T121" fmla="*/ 415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58" h="556">
                  <a:moveTo>
                    <a:pt x="345" y="346"/>
                  </a:moveTo>
                  <a:cubicBezTo>
                    <a:pt x="332" y="315"/>
                    <a:pt x="332" y="315"/>
                    <a:pt x="332" y="315"/>
                  </a:cubicBezTo>
                  <a:cubicBezTo>
                    <a:pt x="331" y="315"/>
                    <a:pt x="331" y="315"/>
                    <a:pt x="331" y="315"/>
                  </a:cubicBezTo>
                  <a:cubicBezTo>
                    <a:pt x="324" y="314"/>
                    <a:pt x="303" y="310"/>
                    <a:pt x="293" y="284"/>
                  </a:cubicBezTo>
                  <a:cubicBezTo>
                    <a:pt x="293" y="284"/>
                    <a:pt x="293" y="284"/>
                    <a:pt x="293" y="284"/>
                  </a:cubicBezTo>
                  <a:cubicBezTo>
                    <a:pt x="230" y="169"/>
                    <a:pt x="230" y="169"/>
                    <a:pt x="230" y="169"/>
                  </a:cubicBezTo>
                  <a:cubicBezTo>
                    <a:pt x="261" y="108"/>
                    <a:pt x="261" y="108"/>
                    <a:pt x="261" y="108"/>
                  </a:cubicBezTo>
                  <a:cubicBezTo>
                    <a:pt x="262" y="106"/>
                    <a:pt x="262" y="106"/>
                    <a:pt x="262" y="106"/>
                  </a:cubicBezTo>
                  <a:cubicBezTo>
                    <a:pt x="262" y="105"/>
                    <a:pt x="262" y="105"/>
                    <a:pt x="262" y="105"/>
                  </a:cubicBezTo>
                  <a:cubicBezTo>
                    <a:pt x="262" y="104"/>
                    <a:pt x="261" y="103"/>
                    <a:pt x="261" y="101"/>
                  </a:cubicBezTo>
                  <a:cubicBezTo>
                    <a:pt x="259" y="97"/>
                    <a:pt x="256" y="95"/>
                    <a:pt x="253" y="93"/>
                  </a:cubicBezTo>
                  <a:cubicBezTo>
                    <a:pt x="251" y="92"/>
                    <a:pt x="250" y="91"/>
                    <a:pt x="248" y="90"/>
                  </a:cubicBezTo>
                  <a:cubicBezTo>
                    <a:pt x="247" y="88"/>
                    <a:pt x="244" y="86"/>
                    <a:pt x="241" y="86"/>
                  </a:cubicBezTo>
                  <a:cubicBezTo>
                    <a:pt x="238" y="86"/>
                    <a:pt x="236" y="89"/>
                    <a:pt x="234" y="90"/>
                  </a:cubicBezTo>
                  <a:cubicBezTo>
                    <a:pt x="234" y="90"/>
                    <a:pt x="234" y="91"/>
                    <a:pt x="233" y="91"/>
                  </a:cubicBezTo>
                  <a:cubicBezTo>
                    <a:pt x="233" y="92"/>
                    <a:pt x="232" y="92"/>
                    <a:pt x="231" y="93"/>
                  </a:cubicBezTo>
                  <a:cubicBezTo>
                    <a:pt x="229" y="94"/>
                    <a:pt x="229" y="94"/>
                    <a:pt x="229" y="94"/>
                  </a:cubicBezTo>
                  <a:cubicBezTo>
                    <a:pt x="228" y="95"/>
                    <a:pt x="225" y="97"/>
                    <a:pt x="223" y="97"/>
                  </a:cubicBezTo>
                  <a:cubicBezTo>
                    <a:pt x="223" y="95"/>
                    <a:pt x="224" y="90"/>
                    <a:pt x="224" y="88"/>
                  </a:cubicBezTo>
                  <a:cubicBezTo>
                    <a:pt x="225" y="86"/>
                    <a:pt x="225" y="85"/>
                    <a:pt x="225" y="84"/>
                  </a:cubicBezTo>
                  <a:cubicBezTo>
                    <a:pt x="225" y="82"/>
                    <a:pt x="226" y="80"/>
                    <a:pt x="227" y="78"/>
                  </a:cubicBezTo>
                  <a:cubicBezTo>
                    <a:pt x="227" y="77"/>
                    <a:pt x="227" y="77"/>
                    <a:pt x="227" y="76"/>
                  </a:cubicBezTo>
                  <a:cubicBezTo>
                    <a:pt x="227" y="76"/>
                    <a:pt x="228" y="75"/>
                    <a:pt x="228" y="75"/>
                  </a:cubicBezTo>
                  <a:cubicBezTo>
                    <a:pt x="230" y="73"/>
                    <a:pt x="232" y="70"/>
                    <a:pt x="230" y="67"/>
                  </a:cubicBezTo>
                  <a:cubicBezTo>
                    <a:pt x="229" y="65"/>
                    <a:pt x="228" y="64"/>
                    <a:pt x="226" y="64"/>
                  </a:cubicBezTo>
                  <a:cubicBezTo>
                    <a:pt x="224" y="64"/>
                    <a:pt x="222" y="65"/>
                    <a:pt x="221" y="66"/>
                  </a:cubicBezTo>
                  <a:cubicBezTo>
                    <a:pt x="221" y="67"/>
                    <a:pt x="221" y="67"/>
                    <a:pt x="221" y="67"/>
                  </a:cubicBezTo>
                  <a:cubicBezTo>
                    <a:pt x="220" y="67"/>
                    <a:pt x="219" y="68"/>
                    <a:pt x="219" y="68"/>
                  </a:cubicBezTo>
                  <a:cubicBezTo>
                    <a:pt x="218" y="69"/>
                    <a:pt x="217" y="69"/>
                    <a:pt x="215" y="70"/>
                  </a:cubicBezTo>
                  <a:cubicBezTo>
                    <a:pt x="214" y="71"/>
                    <a:pt x="213" y="72"/>
                    <a:pt x="212" y="74"/>
                  </a:cubicBezTo>
                  <a:cubicBezTo>
                    <a:pt x="211" y="75"/>
                    <a:pt x="211" y="75"/>
                    <a:pt x="211" y="75"/>
                  </a:cubicBezTo>
                  <a:cubicBezTo>
                    <a:pt x="208" y="77"/>
                    <a:pt x="205" y="80"/>
                    <a:pt x="201" y="80"/>
                  </a:cubicBezTo>
                  <a:cubicBezTo>
                    <a:pt x="201" y="80"/>
                    <a:pt x="201" y="80"/>
                    <a:pt x="201" y="80"/>
                  </a:cubicBezTo>
                  <a:cubicBezTo>
                    <a:pt x="201" y="80"/>
                    <a:pt x="200" y="78"/>
                    <a:pt x="200" y="78"/>
                  </a:cubicBezTo>
                  <a:cubicBezTo>
                    <a:pt x="200" y="77"/>
                    <a:pt x="200" y="76"/>
                    <a:pt x="200" y="75"/>
                  </a:cubicBezTo>
                  <a:cubicBezTo>
                    <a:pt x="200" y="74"/>
                    <a:pt x="200" y="73"/>
                    <a:pt x="200" y="71"/>
                  </a:cubicBezTo>
                  <a:cubicBezTo>
                    <a:pt x="200" y="70"/>
                    <a:pt x="200" y="69"/>
                    <a:pt x="200" y="67"/>
                  </a:cubicBezTo>
                  <a:cubicBezTo>
                    <a:pt x="200" y="66"/>
                    <a:pt x="200" y="65"/>
                    <a:pt x="200" y="64"/>
                  </a:cubicBezTo>
                  <a:cubicBezTo>
                    <a:pt x="200" y="64"/>
                    <a:pt x="200" y="64"/>
                    <a:pt x="200" y="64"/>
                  </a:cubicBezTo>
                  <a:cubicBezTo>
                    <a:pt x="200" y="64"/>
                    <a:pt x="200" y="64"/>
                    <a:pt x="200" y="64"/>
                  </a:cubicBezTo>
                  <a:cubicBezTo>
                    <a:pt x="200" y="63"/>
                    <a:pt x="201" y="63"/>
                    <a:pt x="201" y="62"/>
                  </a:cubicBezTo>
                  <a:cubicBezTo>
                    <a:pt x="201" y="61"/>
                    <a:pt x="202" y="60"/>
                    <a:pt x="202" y="59"/>
                  </a:cubicBezTo>
                  <a:cubicBezTo>
                    <a:pt x="202" y="58"/>
                    <a:pt x="202" y="58"/>
                    <a:pt x="203" y="57"/>
                  </a:cubicBezTo>
                  <a:cubicBezTo>
                    <a:pt x="203" y="56"/>
                    <a:pt x="203" y="54"/>
                    <a:pt x="203" y="53"/>
                  </a:cubicBezTo>
                  <a:cubicBezTo>
                    <a:pt x="203" y="53"/>
                    <a:pt x="204" y="52"/>
                    <a:pt x="204" y="52"/>
                  </a:cubicBezTo>
                  <a:cubicBezTo>
                    <a:pt x="204" y="50"/>
                    <a:pt x="204" y="49"/>
                    <a:pt x="205" y="48"/>
                  </a:cubicBezTo>
                  <a:cubicBezTo>
                    <a:pt x="206" y="44"/>
                    <a:pt x="207" y="41"/>
                    <a:pt x="206" y="37"/>
                  </a:cubicBezTo>
                  <a:cubicBezTo>
                    <a:pt x="206" y="34"/>
                    <a:pt x="205" y="31"/>
                    <a:pt x="203" y="29"/>
                  </a:cubicBezTo>
                  <a:cubicBezTo>
                    <a:pt x="201" y="27"/>
                    <a:pt x="200" y="26"/>
                    <a:pt x="198" y="26"/>
                  </a:cubicBezTo>
                  <a:cubicBezTo>
                    <a:pt x="197" y="26"/>
                    <a:pt x="195" y="26"/>
                    <a:pt x="193" y="29"/>
                  </a:cubicBezTo>
                  <a:cubicBezTo>
                    <a:pt x="192" y="31"/>
                    <a:pt x="191" y="35"/>
                    <a:pt x="191" y="39"/>
                  </a:cubicBezTo>
                  <a:cubicBezTo>
                    <a:pt x="191" y="39"/>
                    <a:pt x="191" y="39"/>
                    <a:pt x="191" y="39"/>
                  </a:cubicBezTo>
                  <a:cubicBezTo>
                    <a:pt x="190" y="39"/>
                    <a:pt x="189" y="39"/>
                    <a:pt x="188" y="39"/>
                  </a:cubicBezTo>
                  <a:cubicBezTo>
                    <a:pt x="187" y="39"/>
                    <a:pt x="185" y="40"/>
                    <a:pt x="183" y="42"/>
                  </a:cubicBezTo>
                  <a:cubicBezTo>
                    <a:pt x="182" y="42"/>
                    <a:pt x="182" y="43"/>
                    <a:pt x="181" y="43"/>
                  </a:cubicBezTo>
                  <a:cubicBezTo>
                    <a:pt x="179" y="44"/>
                    <a:pt x="179" y="44"/>
                    <a:pt x="179" y="44"/>
                  </a:cubicBezTo>
                  <a:cubicBezTo>
                    <a:pt x="179" y="44"/>
                    <a:pt x="179" y="44"/>
                    <a:pt x="178" y="45"/>
                  </a:cubicBezTo>
                  <a:cubicBezTo>
                    <a:pt x="177" y="45"/>
                    <a:pt x="175" y="46"/>
                    <a:pt x="175" y="46"/>
                  </a:cubicBezTo>
                  <a:cubicBezTo>
                    <a:pt x="174" y="46"/>
                    <a:pt x="174" y="46"/>
                    <a:pt x="174" y="45"/>
                  </a:cubicBezTo>
                  <a:cubicBezTo>
                    <a:pt x="173" y="45"/>
                    <a:pt x="173" y="44"/>
                    <a:pt x="173" y="44"/>
                  </a:cubicBezTo>
                  <a:cubicBezTo>
                    <a:pt x="173" y="43"/>
                    <a:pt x="172" y="41"/>
                    <a:pt x="171" y="40"/>
                  </a:cubicBezTo>
                  <a:cubicBezTo>
                    <a:pt x="169" y="39"/>
                    <a:pt x="167" y="38"/>
                    <a:pt x="165" y="38"/>
                  </a:cubicBezTo>
                  <a:cubicBezTo>
                    <a:pt x="166" y="38"/>
                    <a:pt x="167" y="38"/>
                    <a:pt x="168" y="37"/>
                  </a:cubicBezTo>
                  <a:cubicBezTo>
                    <a:pt x="168" y="37"/>
                    <a:pt x="169" y="37"/>
                    <a:pt x="169" y="37"/>
                  </a:cubicBezTo>
                  <a:cubicBezTo>
                    <a:pt x="170" y="37"/>
                    <a:pt x="171" y="37"/>
                    <a:pt x="172" y="37"/>
                  </a:cubicBezTo>
                  <a:cubicBezTo>
                    <a:pt x="176" y="36"/>
                    <a:pt x="176" y="31"/>
                    <a:pt x="176" y="30"/>
                  </a:cubicBezTo>
                  <a:cubicBezTo>
                    <a:pt x="176" y="28"/>
                    <a:pt x="175" y="25"/>
                    <a:pt x="170" y="25"/>
                  </a:cubicBezTo>
                  <a:cubicBezTo>
                    <a:pt x="170" y="25"/>
                    <a:pt x="170" y="25"/>
                    <a:pt x="170" y="25"/>
                  </a:cubicBezTo>
                  <a:cubicBezTo>
                    <a:pt x="169" y="25"/>
                    <a:pt x="169" y="25"/>
                    <a:pt x="168" y="26"/>
                  </a:cubicBezTo>
                  <a:cubicBezTo>
                    <a:pt x="168" y="26"/>
                    <a:pt x="168" y="26"/>
                    <a:pt x="168" y="26"/>
                  </a:cubicBezTo>
                  <a:cubicBezTo>
                    <a:pt x="168" y="26"/>
                    <a:pt x="168" y="26"/>
                    <a:pt x="168" y="26"/>
                  </a:cubicBezTo>
                  <a:cubicBezTo>
                    <a:pt x="168" y="25"/>
                    <a:pt x="167" y="24"/>
                    <a:pt x="167" y="23"/>
                  </a:cubicBezTo>
                  <a:cubicBezTo>
                    <a:pt x="165" y="21"/>
                    <a:pt x="162" y="20"/>
                    <a:pt x="158" y="20"/>
                  </a:cubicBezTo>
                  <a:cubicBezTo>
                    <a:pt x="157" y="20"/>
                    <a:pt x="156" y="20"/>
                    <a:pt x="155" y="21"/>
                  </a:cubicBezTo>
                  <a:cubicBezTo>
                    <a:pt x="153" y="21"/>
                    <a:pt x="153" y="22"/>
                    <a:pt x="152" y="22"/>
                  </a:cubicBezTo>
                  <a:cubicBezTo>
                    <a:pt x="151" y="23"/>
                    <a:pt x="151" y="23"/>
                    <a:pt x="151" y="23"/>
                  </a:cubicBezTo>
                  <a:cubicBezTo>
                    <a:pt x="151" y="23"/>
                    <a:pt x="151" y="23"/>
                    <a:pt x="150" y="23"/>
                  </a:cubicBezTo>
                  <a:cubicBezTo>
                    <a:pt x="150" y="22"/>
                    <a:pt x="149" y="21"/>
                    <a:pt x="147" y="21"/>
                  </a:cubicBezTo>
                  <a:cubicBezTo>
                    <a:pt x="146" y="20"/>
                    <a:pt x="144" y="20"/>
                    <a:pt x="143" y="20"/>
                  </a:cubicBezTo>
                  <a:cubicBezTo>
                    <a:pt x="141" y="20"/>
                    <a:pt x="140" y="20"/>
                    <a:pt x="139" y="20"/>
                  </a:cubicBezTo>
                  <a:cubicBezTo>
                    <a:pt x="138" y="20"/>
                    <a:pt x="137" y="20"/>
                    <a:pt x="137" y="20"/>
                  </a:cubicBezTo>
                  <a:cubicBezTo>
                    <a:pt x="135" y="20"/>
                    <a:pt x="134" y="20"/>
                    <a:pt x="133" y="20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5" y="20"/>
                    <a:pt x="125" y="20"/>
                    <a:pt x="124" y="20"/>
                  </a:cubicBezTo>
                  <a:cubicBezTo>
                    <a:pt x="123" y="20"/>
                    <a:pt x="122" y="21"/>
                    <a:pt x="121" y="21"/>
                  </a:cubicBezTo>
                  <a:cubicBezTo>
                    <a:pt x="117" y="21"/>
                    <a:pt x="115" y="20"/>
                    <a:pt x="114" y="19"/>
                  </a:cubicBezTo>
                  <a:cubicBezTo>
                    <a:pt x="114" y="18"/>
                    <a:pt x="114" y="18"/>
                    <a:pt x="115" y="17"/>
                  </a:cubicBezTo>
                  <a:cubicBezTo>
                    <a:pt x="115" y="16"/>
                    <a:pt x="116" y="14"/>
                    <a:pt x="116" y="12"/>
                  </a:cubicBezTo>
                  <a:cubicBezTo>
                    <a:pt x="116" y="8"/>
                    <a:pt x="113" y="5"/>
                    <a:pt x="108" y="5"/>
                  </a:cubicBezTo>
                  <a:cubicBezTo>
                    <a:pt x="108" y="5"/>
                    <a:pt x="108" y="5"/>
                    <a:pt x="107" y="5"/>
                  </a:cubicBezTo>
                  <a:cubicBezTo>
                    <a:pt x="107" y="5"/>
                    <a:pt x="106" y="5"/>
                    <a:pt x="106" y="6"/>
                  </a:cubicBezTo>
                  <a:cubicBezTo>
                    <a:pt x="106" y="5"/>
                    <a:pt x="106" y="5"/>
                    <a:pt x="105" y="5"/>
                  </a:cubicBezTo>
                  <a:cubicBezTo>
                    <a:pt x="105" y="5"/>
                    <a:pt x="105" y="5"/>
                    <a:pt x="104" y="4"/>
                  </a:cubicBezTo>
                  <a:cubicBezTo>
                    <a:pt x="103" y="3"/>
                    <a:pt x="102" y="2"/>
                    <a:pt x="99" y="2"/>
                  </a:cubicBezTo>
                  <a:cubicBezTo>
                    <a:pt x="99" y="2"/>
                    <a:pt x="98" y="2"/>
                    <a:pt x="97" y="2"/>
                  </a:cubicBezTo>
                  <a:cubicBezTo>
                    <a:pt x="95" y="3"/>
                    <a:pt x="94" y="4"/>
                    <a:pt x="93" y="5"/>
                  </a:cubicBezTo>
                  <a:cubicBezTo>
                    <a:pt x="93" y="5"/>
                    <a:pt x="93" y="5"/>
                    <a:pt x="93" y="5"/>
                  </a:cubicBezTo>
                  <a:cubicBezTo>
                    <a:pt x="93" y="5"/>
                    <a:pt x="93" y="5"/>
                    <a:pt x="93" y="5"/>
                  </a:cubicBezTo>
                  <a:cubicBezTo>
                    <a:pt x="92" y="3"/>
                    <a:pt x="91" y="0"/>
                    <a:pt x="87" y="0"/>
                  </a:cubicBezTo>
                  <a:cubicBezTo>
                    <a:pt x="87" y="0"/>
                    <a:pt x="86" y="1"/>
                    <a:pt x="85" y="1"/>
                  </a:cubicBezTo>
                  <a:cubicBezTo>
                    <a:pt x="82" y="2"/>
                    <a:pt x="81" y="4"/>
                    <a:pt x="81" y="6"/>
                  </a:cubicBezTo>
                  <a:cubicBezTo>
                    <a:pt x="80" y="6"/>
                    <a:pt x="80" y="7"/>
                    <a:pt x="80" y="7"/>
                  </a:cubicBezTo>
                  <a:cubicBezTo>
                    <a:pt x="80" y="8"/>
                    <a:pt x="80" y="8"/>
                    <a:pt x="79" y="8"/>
                  </a:cubicBezTo>
                  <a:cubicBezTo>
                    <a:pt x="78" y="9"/>
                    <a:pt x="77" y="11"/>
                    <a:pt x="77" y="14"/>
                  </a:cubicBezTo>
                  <a:cubicBezTo>
                    <a:pt x="77" y="14"/>
                    <a:pt x="77" y="14"/>
                    <a:pt x="77" y="14"/>
                  </a:cubicBezTo>
                  <a:cubicBezTo>
                    <a:pt x="76" y="14"/>
                    <a:pt x="73" y="7"/>
                    <a:pt x="73" y="7"/>
                  </a:cubicBezTo>
                  <a:cubicBezTo>
                    <a:pt x="70" y="11"/>
                    <a:pt x="70" y="11"/>
                    <a:pt x="70" y="11"/>
                  </a:cubicBezTo>
                  <a:cubicBezTo>
                    <a:pt x="70" y="12"/>
                    <a:pt x="70" y="13"/>
                    <a:pt x="69" y="13"/>
                  </a:cubicBezTo>
                  <a:cubicBezTo>
                    <a:pt x="68" y="15"/>
                    <a:pt x="67" y="17"/>
                    <a:pt x="65" y="19"/>
                  </a:cubicBezTo>
                  <a:cubicBezTo>
                    <a:pt x="64" y="22"/>
                    <a:pt x="62" y="25"/>
                    <a:pt x="59" y="27"/>
                  </a:cubicBezTo>
                  <a:cubicBezTo>
                    <a:pt x="58" y="28"/>
                    <a:pt x="56" y="29"/>
                    <a:pt x="54" y="30"/>
                  </a:cubicBezTo>
                  <a:cubicBezTo>
                    <a:pt x="51" y="32"/>
                    <a:pt x="48" y="33"/>
                    <a:pt x="47" y="36"/>
                  </a:cubicBezTo>
                  <a:cubicBezTo>
                    <a:pt x="45" y="38"/>
                    <a:pt x="45" y="40"/>
                    <a:pt x="44" y="43"/>
                  </a:cubicBezTo>
                  <a:cubicBezTo>
                    <a:pt x="44" y="45"/>
                    <a:pt x="43" y="47"/>
                    <a:pt x="42" y="49"/>
                  </a:cubicBezTo>
                  <a:cubicBezTo>
                    <a:pt x="39" y="54"/>
                    <a:pt x="36" y="57"/>
                    <a:pt x="31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29" y="63"/>
                    <a:pt x="27" y="66"/>
                    <a:pt x="27" y="68"/>
                  </a:cubicBezTo>
                  <a:cubicBezTo>
                    <a:pt x="27" y="70"/>
                    <a:pt x="28" y="73"/>
                    <a:pt x="31" y="75"/>
                  </a:cubicBezTo>
                  <a:cubicBezTo>
                    <a:pt x="33" y="77"/>
                    <a:pt x="37" y="78"/>
                    <a:pt x="41" y="80"/>
                  </a:cubicBezTo>
                  <a:cubicBezTo>
                    <a:pt x="45" y="81"/>
                    <a:pt x="50" y="83"/>
                    <a:pt x="51" y="86"/>
                  </a:cubicBezTo>
                  <a:cubicBezTo>
                    <a:pt x="52" y="89"/>
                    <a:pt x="52" y="92"/>
                    <a:pt x="50" y="96"/>
                  </a:cubicBezTo>
                  <a:cubicBezTo>
                    <a:pt x="49" y="99"/>
                    <a:pt x="45" y="102"/>
                    <a:pt x="41" y="105"/>
                  </a:cubicBezTo>
                  <a:cubicBezTo>
                    <a:pt x="35" y="111"/>
                    <a:pt x="28" y="117"/>
                    <a:pt x="31" y="123"/>
                  </a:cubicBezTo>
                  <a:cubicBezTo>
                    <a:pt x="32" y="125"/>
                    <a:pt x="34" y="127"/>
                    <a:pt x="36" y="129"/>
                  </a:cubicBezTo>
                  <a:cubicBezTo>
                    <a:pt x="41" y="132"/>
                    <a:pt x="44" y="135"/>
                    <a:pt x="41" y="140"/>
                  </a:cubicBezTo>
                  <a:cubicBezTo>
                    <a:pt x="38" y="146"/>
                    <a:pt x="31" y="151"/>
                    <a:pt x="25" y="155"/>
                  </a:cubicBezTo>
                  <a:cubicBezTo>
                    <a:pt x="23" y="157"/>
                    <a:pt x="23" y="157"/>
                    <a:pt x="23" y="157"/>
                  </a:cubicBezTo>
                  <a:cubicBezTo>
                    <a:pt x="15" y="162"/>
                    <a:pt x="16" y="170"/>
                    <a:pt x="16" y="178"/>
                  </a:cubicBezTo>
                  <a:cubicBezTo>
                    <a:pt x="17" y="180"/>
                    <a:pt x="17" y="180"/>
                    <a:pt x="17" y="180"/>
                  </a:cubicBezTo>
                  <a:cubicBezTo>
                    <a:pt x="17" y="184"/>
                    <a:pt x="18" y="186"/>
                    <a:pt x="20" y="189"/>
                  </a:cubicBezTo>
                  <a:cubicBezTo>
                    <a:pt x="20" y="190"/>
                    <a:pt x="21" y="191"/>
                    <a:pt x="22" y="192"/>
                  </a:cubicBezTo>
                  <a:cubicBezTo>
                    <a:pt x="23" y="195"/>
                    <a:pt x="23" y="199"/>
                    <a:pt x="22" y="203"/>
                  </a:cubicBezTo>
                  <a:cubicBezTo>
                    <a:pt x="22" y="204"/>
                    <a:pt x="22" y="205"/>
                    <a:pt x="22" y="206"/>
                  </a:cubicBezTo>
                  <a:cubicBezTo>
                    <a:pt x="22" y="208"/>
                    <a:pt x="22" y="208"/>
                    <a:pt x="22" y="208"/>
                  </a:cubicBezTo>
                  <a:cubicBezTo>
                    <a:pt x="21" y="212"/>
                    <a:pt x="21" y="217"/>
                    <a:pt x="21" y="222"/>
                  </a:cubicBezTo>
                  <a:cubicBezTo>
                    <a:pt x="21" y="222"/>
                    <a:pt x="22" y="223"/>
                    <a:pt x="22" y="224"/>
                  </a:cubicBezTo>
                  <a:cubicBezTo>
                    <a:pt x="22" y="227"/>
                    <a:pt x="23" y="230"/>
                    <a:pt x="21" y="234"/>
                  </a:cubicBezTo>
                  <a:cubicBezTo>
                    <a:pt x="20" y="238"/>
                    <a:pt x="17" y="240"/>
                    <a:pt x="14" y="243"/>
                  </a:cubicBezTo>
                  <a:cubicBezTo>
                    <a:pt x="12" y="245"/>
                    <a:pt x="10" y="246"/>
                    <a:pt x="9" y="249"/>
                  </a:cubicBezTo>
                  <a:cubicBezTo>
                    <a:pt x="7" y="252"/>
                    <a:pt x="7" y="256"/>
                    <a:pt x="8" y="261"/>
                  </a:cubicBezTo>
                  <a:cubicBezTo>
                    <a:pt x="8" y="262"/>
                    <a:pt x="8" y="264"/>
                    <a:pt x="8" y="265"/>
                  </a:cubicBezTo>
                  <a:cubicBezTo>
                    <a:pt x="9" y="270"/>
                    <a:pt x="7" y="273"/>
                    <a:pt x="4" y="276"/>
                  </a:cubicBezTo>
                  <a:cubicBezTo>
                    <a:pt x="4" y="277"/>
                    <a:pt x="3" y="278"/>
                    <a:pt x="2" y="280"/>
                  </a:cubicBezTo>
                  <a:cubicBezTo>
                    <a:pt x="0" y="284"/>
                    <a:pt x="1" y="285"/>
                    <a:pt x="3" y="288"/>
                  </a:cubicBezTo>
                  <a:cubicBezTo>
                    <a:pt x="4" y="289"/>
                    <a:pt x="5" y="290"/>
                    <a:pt x="6" y="291"/>
                  </a:cubicBezTo>
                  <a:cubicBezTo>
                    <a:pt x="8" y="296"/>
                    <a:pt x="8" y="301"/>
                    <a:pt x="8" y="307"/>
                  </a:cubicBezTo>
                  <a:cubicBezTo>
                    <a:pt x="8" y="311"/>
                    <a:pt x="8" y="315"/>
                    <a:pt x="9" y="319"/>
                  </a:cubicBezTo>
                  <a:cubicBezTo>
                    <a:pt x="10" y="321"/>
                    <a:pt x="11" y="322"/>
                    <a:pt x="12" y="324"/>
                  </a:cubicBezTo>
                  <a:cubicBezTo>
                    <a:pt x="14" y="326"/>
                    <a:pt x="15" y="328"/>
                    <a:pt x="15" y="330"/>
                  </a:cubicBezTo>
                  <a:cubicBezTo>
                    <a:pt x="16" y="335"/>
                    <a:pt x="14" y="338"/>
                    <a:pt x="13" y="341"/>
                  </a:cubicBezTo>
                  <a:cubicBezTo>
                    <a:pt x="11" y="343"/>
                    <a:pt x="10" y="345"/>
                    <a:pt x="10" y="348"/>
                  </a:cubicBezTo>
                  <a:cubicBezTo>
                    <a:pt x="9" y="352"/>
                    <a:pt x="11" y="356"/>
                    <a:pt x="14" y="358"/>
                  </a:cubicBezTo>
                  <a:cubicBezTo>
                    <a:pt x="16" y="359"/>
                    <a:pt x="18" y="360"/>
                    <a:pt x="20" y="360"/>
                  </a:cubicBezTo>
                  <a:cubicBezTo>
                    <a:pt x="22" y="360"/>
                    <a:pt x="24" y="361"/>
                    <a:pt x="26" y="362"/>
                  </a:cubicBezTo>
                  <a:cubicBezTo>
                    <a:pt x="27" y="363"/>
                    <a:pt x="27" y="363"/>
                    <a:pt x="28" y="364"/>
                  </a:cubicBezTo>
                  <a:cubicBezTo>
                    <a:pt x="29" y="365"/>
                    <a:pt x="29" y="366"/>
                    <a:pt x="30" y="367"/>
                  </a:cubicBezTo>
                  <a:cubicBezTo>
                    <a:pt x="32" y="368"/>
                    <a:pt x="33" y="368"/>
                    <a:pt x="35" y="368"/>
                  </a:cubicBezTo>
                  <a:cubicBezTo>
                    <a:pt x="35" y="368"/>
                    <a:pt x="36" y="368"/>
                    <a:pt x="37" y="368"/>
                  </a:cubicBezTo>
                  <a:cubicBezTo>
                    <a:pt x="38" y="368"/>
                    <a:pt x="38" y="368"/>
                    <a:pt x="39" y="368"/>
                  </a:cubicBezTo>
                  <a:cubicBezTo>
                    <a:pt x="42" y="368"/>
                    <a:pt x="44" y="368"/>
                    <a:pt x="45" y="370"/>
                  </a:cubicBezTo>
                  <a:cubicBezTo>
                    <a:pt x="47" y="373"/>
                    <a:pt x="46" y="375"/>
                    <a:pt x="42" y="379"/>
                  </a:cubicBezTo>
                  <a:cubicBezTo>
                    <a:pt x="41" y="380"/>
                    <a:pt x="41" y="381"/>
                    <a:pt x="40" y="382"/>
                  </a:cubicBezTo>
                  <a:cubicBezTo>
                    <a:pt x="38" y="385"/>
                    <a:pt x="39" y="388"/>
                    <a:pt x="39" y="392"/>
                  </a:cubicBezTo>
                  <a:cubicBezTo>
                    <a:pt x="40" y="394"/>
                    <a:pt x="40" y="396"/>
                    <a:pt x="40" y="399"/>
                  </a:cubicBezTo>
                  <a:cubicBezTo>
                    <a:pt x="39" y="401"/>
                    <a:pt x="39" y="402"/>
                    <a:pt x="39" y="402"/>
                  </a:cubicBezTo>
                  <a:cubicBezTo>
                    <a:pt x="38" y="403"/>
                    <a:pt x="38" y="403"/>
                    <a:pt x="38" y="404"/>
                  </a:cubicBezTo>
                  <a:cubicBezTo>
                    <a:pt x="37" y="406"/>
                    <a:pt x="37" y="406"/>
                    <a:pt x="37" y="406"/>
                  </a:cubicBezTo>
                  <a:cubicBezTo>
                    <a:pt x="39" y="407"/>
                    <a:pt x="39" y="407"/>
                    <a:pt x="39" y="407"/>
                  </a:cubicBezTo>
                  <a:cubicBezTo>
                    <a:pt x="60" y="420"/>
                    <a:pt x="82" y="432"/>
                    <a:pt x="103" y="444"/>
                  </a:cubicBezTo>
                  <a:cubicBezTo>
                    <a:pt x="103" y="444"/>
                    <a:pt x="103" y="444"/>
                    <a:pt x="103" y="444"/>
                  </a:cubicBezTo>
                  <a:cubicBezTo>
                    <a:pt x="268" y="530"/>
                    <a:pt x="401" y="552"/>
                    <a:pt x="426" y="556"/>
                  </a:cubicBezTo>
                  <a:cubicBezTo>
                    <a:pt x="429" y="556"/>
                    <a:pt x="429" y="556"/>
                    <a:pt x="429" y="556"/>
                  </a:cubicBezTo>
                  <a:cubicBezTo>
                    <a:pt x="430" y="553"/>
                    <a:pt x="430" y="553"/>
                    <a:pt x="430" y="553"/>
                  </a:cubicBezTo>
                  <a:cubicBezTo>
                    <a:pt x="443" y="468"/>
                    <a:pt x="453" y="418"/>
                    <a:pt x="457" y="403"/>
                  </a:cubicBezTo>
                  <a:cubicBezTo>
                    <a:pt x="458" y="401"/>
                    <a:pt x="458" y="401"/>
                    <a:pt x="458" y="401"/>
                  </a:cubicBezTo>
                  <a:lnTo>
                    <a:pt x="345" y="346"/>
                  </a:lnTo>
                  <a:close/>
                  <a:moveTo>
                    <a:pt x="106" y="44"/>
                  </a:moveTo>
                  <a:cubicBezTo>
                    <a:pt x="106" y="44"/>
                    <a:pt x="105" y="44"/>
                    <a:pt x="105" y="43"/>
                  </a:cubicBezTo>
                  <a:cubicBezTo>
                    <a:pt x="104" y="43"/>
                    <a:pt x="104" y="42"/>
                    <a:pt x="104" y="41"/>
                  </a:cubicBezTo>
                  <a:cubicBezTo>
                    <a:pt x="104" y="39"/>
                    <a:pt x="106" y="38"/>
                    <a:pt x="111" y="37"/>
                  </a:cubicBezTo>
                  <a:cubicBezTo>
                    <a:pt x="111" y="37"/>
                    <a:pt x="112" y="37"/>
                    <a:pt x="112" y="37"/>
                  </a:cubicBezTo>
                  <a:cubicBezTo>
                    <a:pt x="112" y="38"/>
                    <a:pt x="111" y="38"/>
                    <a:pt x="111" y="39"/>
                  </a:cubicBezTo>
                  <a:cubicBezTo>
                    <a:pt x="111" y="40"/>
                    <a:pt x="110" y="40"/>
                    <a:pt x="110" y="40"/>
                  </a:cubicBezTo>
                  <a:cubicBezTo>
                    <a:pt x="109" y="42"/>
                    <a:pt x="109" y="43"/>
                    <a:pt x="107" y="44"/>
                  </a:cubicBezTo>
                  <a:cubicBezTo>
                    <a:pt x="107" y="44"/>
                    <a:pt x="107" y="44"/>
                    <a:pt x="106" y="44"/>
                  </a:cubicBezTo>
                  <a:close/>
                  <a:moveTo>
                    <a:pt x="232" y="212"/>
                  </a:moveTo>
                  <a:cubicBezTo>
                    <a:pt x="231" y="212"/>
                    <a:pt x="230" y="212"/>
                    <a:pt x="229" y="212"/>
                  </a:cubicBezTo>
                  <a:cubicBezTo>
                    <a:pt x="229" y="212"/>
                    <a:pt x="229" y="212"/>
                    <a:pt x="229" y="212"/>
                  </a:cubicBezTo>
                  <a:cubicBezTo>
                    <a:pt x="228" y="212"/>
                    <a:pt x="227" y="212"/>
                    <a:pt x="226" y="212"/>
                  </a:cubicBezTo>
                  <a:cubicBezTo>
                    <a:pt x="225" y="212"/>
                    <a:pt x="224" y="212"/>
                    <a:pt x="222" y="212"/>
                  </a:cubicBezTo>
                  <a:cubicBezTo>
                    <a:pt x="220" y="212"/>
                    <a:pt x="217" y="212"/>
                    <a:pt x="214" y="214"/>
                  </a:cubicBezTo>
                  <a:cubicBezTo>
                    <a:pt x="212" y="216"/>
                    <a:pt x="208" y="218"/>
                    <a:pt x="208" y="222"/>
                  </a:cubicBezTo>
                  <a:cubicBezTo>
                    <a:pt x="208" y="225"/>
                    <a:pt x="211" y="227"/>
                    <a:pt x="213" y="228"/>
                  </a:cubicBezTo>
                  <a:cubicBezTo>
                    <a:pt x="213" y="228"/>
                    <a:pt x="213" y="228"/>
                    <a:pt x="213" y="228"/>
                  </a:cubicBezTo>
                  <a:cubicBezTo>
                    <a:pt x="217" y="230"/>
                    <a:pt x="220" y="232"/>
                    <a:pt x="222" y="235"/>
                  </a:cubicBezTo>
                  <a:cubicBezTo>
                    <a:pt x="222" y="236"/>
                    <a:pt x="222" y="236"/>
                    <a:pt x="222" y="236"/>
                  </a:cubicBezTo>
                  <a:cubicBezTo>
                    <a:pt x="223" y="236"/>
                    <a:pt x="223" y="236"/>
                    <a:pt x="223" y="236"/>
                  </a:cubicBezTo>
                  <a:cubicBezTo>
                    <a:pt x="224" y="237"/>
                    <a:pt x="225" y="237"/>
                    <a:pt x="226" y="238"/>
                  </a:cubicBezTo>
                  <a:cubicBezTo>
                    <a:pt x="228" y="239"/>
                    <a:pt x="230" y="240"/>
                    <a:pt x="233" y="240"/>
                  </a:cubicBezTo>
                  <a:cubicBezTo>
                    <a:pt x="233" y="240"/>
                    <a:pt x="234" y="240"/>
                    <a:pt x="234" y="240"/>
                  </a:cubicBezTo>
                  <a:cubicBezTo>
                    <a:pt x="237" y="240"/>
                    <a:pt x="239" y="239"/>
                    <a:pt x="241" y="238"/>
                  </a:cubicBezTo>
                  <a:cubicBezTo>
                    <a:pt x="242" y="237"/>
                    <a:pt x="243" y="237"/>
                    <a:pt x="244" y="236"/>
                  </a:cubicBezTo>
                  <a:cubicBezTo>
                    <a:pt x="244" y="236"/>
                    <a:pt x="245" y="236"/>
                    <a:pt x="244" y="236"/>
                  </a:cubicBezTo>
                  <a:cubicBezTo>
                    <a:pt x="245" y="237"/>
                    <a:pt x="244" y="241"/>
                    <a:pt x="243" y="243"/>
                  </a:cubicBezTo>
                  <a:cubicBezTo>
                    <a:pt x="242" y="244"/>
                    <a:pt x="240" y="245"/>
                    <a:pt x="238" y="246"/>
                  </a:cubicBezTo>
                  <a:cubicBezTo>
                    <a:pt x="235" y="248"/>
                    <a:pt x="231" y="250"/>
                    <a:pt x="230" y="255"/>
                  </a:cubicBezTo>
                  <a:cubicBezTo>
                    <a:pt x="230" y="255"/>
                    <a:pt x="230" y="256"/>
                    <a:pt x="230" y="257"/>
                  </a:cubicBezTo>
                  <a:cubicBezTo>
                    <a:pt x="230" y="258"/>
                    <a:pt x="230" y="259"/>
                    <a:pt x="230" y="259"/>
                  </a:cubicBezTo>
                  <a:cubicBezTo>
                    <a:pt x="230" y="259"/>
                    <a:pt x="229" y="259"/>
                    <a:pt x="229" y="259"/>
                  </a:cubicBezTo>
                  <a:cubicBezTo>
                    <a:pt x="228" y="259"/>
                    <a:pt x="226" y="259"/>
                    <a:pt x="226" y="258"/>
                  </a:cubicBezTo>
                  <a:cubicBezTo>
                    <a:pt x="225" y="258"/>
                    <a:pt x="225" y="257"/>
                    <a:pt x="224" y="256"/>
                  </a:cubicBezTo>
                  <a:cubicBezTo>
                    <a:pt x="223" y="254"/>
                    <a:pt x="223" y="253"/>
                    <a:pt x="221" y="252"/>
                  </a:cubicBezTo>
                  <a:cubicBezTo>
                    <a:pt x="219" y="249"/>
                    <a:pt x="214" y="248"/>
                    <a:pt x="212" y="247"/>
                  </a:cubicBezTo>
                  <a:cubicBezTo>
                    <a:pt x="211" y="247"/>
                    <a:pt x="211" y="247"/>
                    <a:pt x="210" y="247"/>
                  </a:cubicBezTo>
                  <a:cubicBezTo>
                    <a:pt x="207" y="247"/>
                    <a:pt x="202" y="249"/>
                    <a:pt x="200" y="252"/>
                  </a:cubicBezTo>
                  <a:cubicBezTo>
                    <a:pt x="199" y="254"/>
                    <a:pt x="199" y="257"/>
                    <a:pt x="200" y="259"/>
                  </a:cubicBezTo>
                  <a:cubicBezTo>
                    <a:pt x="200" y="260"/>
                    <a:pt x="201" y="261"/>
                    <a:pt x="201" y="261"/>
                  </a:cubicBezTo>
                  <a:cubicBezTo>
                    <a:pt x="201" y="261"/>
                    <a:pt x="200" y="261"/>
                    <a:pt x="199" y="261"/>
                  </a:cubicBezTo>
                  <a:cubicBezTo>
                    <a:pt x="198" y="261"/>
                    <a:pt x="197" y="261"/>
                    <a:pt x="196" y="262"/>
                  </a:cubicBezTo>
                  <a:cubicBezTo>
                    <a:pt x="195" y="262"/>
                    <a:pt x="194" y="262"/>
                    <a:pt x="193" y="263"/>
                  </a:cubicBezTo>
                  <a:cubicBezTo>
                    <a:pt x="192" y="263"/>
                    <a:pt x="191" y="263"/>
                    <a:pt x="190" y="263"/>
                  </a:cubicBezTo>
                  <a:cubicBezTo>
                    <a:pt x="189" y="264"/>
                    <a:pt x="187" y="264"/>
                    <a:pt x="185" y="265"/>
                  </a:cubicBezTo>
                  <a:cubicBezTo>
                    <a:pt x="186" y="264"/>
                    <a:pt x="187" y="264"/>
                    <a:pt x="188" y="264"/>
                  </a:cubicBezTo>
                  <a:cubicBezTo>
                    <a:pt x="192" y="262"/>
                    <a:pt x="195" y="259"/>
                    <a:pt x="197" y="256"/>
                  </a:cubicBezTo>
                  <a:cubicBezTo>
                    <a:pt x="198" y="252"/>
                    <a:pt x="198" y="249"/>
                    <a:pt x="196" y="245"/>
                  </a:cubicBezTo>
                  <a:cubicBezTo>
                    <a:pt x="195" y="243"/>
                    <a:pt x="195" y="243"/>
                    <a:pt x="195" y="243"/>
                  </a:cubicBezTo>
                  <a:cubicBezTo>
                    <a:pt x="193" y="243"/>
                    <a:pt x="193" y="243"/>
                    <a:pt x="193" y="243"/>
                  </a:cubicBezTo>
                  <a:cubicBezTo>
                    <a:pt x="189" y="243"/>
                    <a:pt x="184" y="244"/>
                    <a:pt x="179" y="245"/>
                  </a:cubicBezTo>
                  <a:cubicBezTo>
                    <a:pt x="175" y="246"/>
                    <a:pt x="173" y="249"/>
                    <a:pt x="170" y="251"/>
                  </a:cubicBezTo>
                  <a:cubicBezTo>
                    <a:pt x="169" y="252"/>
                    <a:pt x="167" y="253"/>
                    <a:pt x="166" y="254"/>
                  </a:cubicBezTo>
                  <a:cubicBezTo>
                    <a:pt x="165" y="255"/>
                    <a:pt x="164" y="255"/>
                    <a:pt x="163" y="255"/>
                  </a:cubicBezTo>
                  <a:cubicBezTo>
                    <a:pt x="161" y="255"/>
                    <a:pt x="159" y="252"/>
                    <a:pt x="156" y="250"/>
                  </a:cubicBezTo>
                  <a:cubicBezTo>
                    <a:pt x="155" y="249"/>
                    <a:pt x="154" y="248"/>
                    <a:pt x="154" y="247"/>
                  </a:cubicBezTo>
                  <a:cubicBezTo>
                    <a:pt x="153" y="247"/>
                    <a:pt x="152" y="246"/>
                    <a:pt x="152" y="246"/>
                  </a:cubicBezTo>
                  <a:cubicBezTo>
                    <a:pt x="151" y="246"/>
                    <a:pt x="151" y="245"/>
                    <a:pt x="151" y="245"/>
                  </a:cubicBezTo>
                  <a:cubicBezTo>
                    <a:pt x="152" y="245"/>
                    <a:pt x="153" y="246"/>
                    <a:pt x="154" y="246"/>
                  </a:cubicBezTo>
                  <a:cubicBezTo>
                    <a:pt x="155" y="246"/>
                    <a:pt x="156" y="245"/>
                    <a:pt x="157" y="245"/>
                  </a:cubicBezTo>
                  <a:cubicBezTo>
                    <a:pt x="161" y="243"/>
                    <a:pt x="163" y="239"/>
                    <a:pt x="164" y="236"/>
                  </a:cubicBezTo>
                  <a:cubicBezTo>
                    <a:pt x="165" y="236"/>
                    <a:pt x="165" y="236"/>
                    <a:pt x="166" y="236"/>
                  </a:cubicBezTo>
                  <a:cubicBezTo>
                    <a:pt x="167" y="236"/>
                    <a:pt x="168" y="236"/>
                    <a:pt x="169" y="236"/>
                  </a:cubicBezTo>
                  <a:cubicBezTo>
                    <a:pt x="170" y="236"/>
                    <a:pt x="173" y="236"/>
                    <a:pt x="176" y="233"/>
                  </a:cubicBezTo>
                  <a:cubicBezTo>
                    <a:pt x="177" y="231"/>
                    <a:pt x="178" y="230"/>
                    <a:pt x="178" y="228"/>
                  </a:cubicBezTo>
                  <a:cubicBezTo>
                    <a:pt x="178" y="228"/>
                    <a:pt x="178" y="229"/>
                    <a:pt x="178" y="229"/>
                  </a:cubicBezTo>
                  <a:cubicBezTo>
                    <a:pt x="182" y="232"/>
                    <a:pt x="184" y="234"/>
                    <a:pt x="189" y="234"/>
                  </a:cubicBezTo>
                  <a:cubicBezTo>
                    <a:pt x="189" y="234"/>
                    <a:pt x="190" y="234"/>
                    <a:pt x="191" y="234"/>
                  </a:cubicBezTo>
                  <a:cubicBezTo>
                    <a:pt x="194" y="233"/>
                    <a:pt x="194" y="233"/>
                    <a:pt x="194" y="233"/>
                  </a:cubicBezTo>
                  <a:cubicBezTo>
                    <a:pt x="194" y="231"/>
                    <a:pt x="194" y="231"/>
                    <a:pt x="194" y="231"/>
                  </a:cubicBezTo>
                  <a:cubicBezTo>
                    <a:pt x="194" y="221"/>
                    <a:pt x="190" y="217"/>
                    <a:pt x="184" y="211"/>
                  </a:cubicBezTo>
                  <a:cubicBezTo>
                    <a:pt x="183" y="211"/>
                    <a:pt x="183" y="211"/>
                    <a:pt x="182" y="210"/>
                  </a:cubicBezTo>
                  <a:cubicBezTo>
                    <a:pt x="181" y="209"/>
                    <a:pt x="178" y="207"/>
                    <a:pt x="175" y="206"/>
                  </a:cubicBezTo>
                  <a:cubicBezTo>
                    <a:pt x="174" y="206"/>
                    <a:pt x="174" y="206"/>
                    <a:pt x="174" y="206"/>
                  </a:cubicBezTo>
                  <a:cubicBezTo>
                    <a:pt x="173" y="206"/>
                    <a:pt x="172" y="207"/>
                    <a:pt x="171" y="207"/>
                  </a:cubicBezTo>
                  <a:cubicBezTo>
                    <a:pt x="171" y="207"/>
                    <a:pt x="171" y="207"/>
                    <a:pt x="171" y="207"/>
                  </a:cubicBezTo>
                  <a:cubicBezTo>
                    <a:pt x="170" y="207"/>
                    <a:pt x="169" y="206"/>
                    <a:pt x="168" y="205"/>
                  </a:cubicBezTo>
                  <a:cubicBezTo>
                    <a:pt x="168" y="205"/>
                    <a:pt x="168" y="205"/>
                    <a:pt x="168" y="205"/>
                  </a:cubicBezTo>
                  <a:cubicBezTo>
                    <a:pt x="166" y="203"/>
                    <a:pt x="165" y="203"/>
                    <a:pt x="162" y="202"/>
                  </a:cubicBezTo>
                  <a:cubicBezTo>
                    <a:pt x="161" y="201"/>
                    <a:pt x="161" y="201"/>
                    <a:pt x="160" y="200"/>
                  </a:cubicBezTo>
                  <a:cubicBezTo>
                    <a:pt x="159" y="200"/>
                    <a:pt x="158" y="199"/>
                    <a:pt x="157" y="199"/>
                  </a:cubicBezTo>
                  <a:cubicBezTo>
                    <a:pt x="157" y="199"/>
                    <a:pt x="157" y="199"/>
                    <a:pt x="156" y="198"/>
                  </a:cubicBezTo>
                  <a:cubicBezTo>
                    <a:pt x="157" y="199"/>
                    <a:pt x="157" y="199"/>
                    <a:pt x="158" y="199"/>
                  </a:cubicBezTo>
                  <a:cubicBezTo>
                    <a:pt x="159" y="200"/>
                    <a:pt x="161" y="200"/>
                    <a:pt x="163" y="200"/>
                  </a:cubicBezTo>
                  <a:cubicBezTo>
                    <a:pt x="163" y="200"/>
                    <a:pt x="163" y="200"/>
                    <a:pt x="164" y="200"/>
                  </a:cubicBezTo>
                  <a:cubicBezTo>
                    <a:pt x="165" y="200"/>
                    <a:pt x="166" y="200"/>
                    <a:pt x="167" y="199"/>
                  </a:cubicBezTo>
                  <a:cubicBezTo>
                    <a:pt x="167" y="199"/>
                    <a:pt x="168" y="199"/>
                    <a:pt x="169" y="199"/>
                  </a:cubicBezTo>
                  <a:cubicBezTo>
                    <a:pt x="169" y="199"/>
                    <a:pt x="169" y="199"/>
                    <a:pt x="170" y="199"/>
                  </a:cubicBezTo>
                  <a:cubicBezTo>
                    <a:pt x="171" y="199"/>
                    <a:pt x="171" y="200"/>
                    <a:pt x="172" y="200"/>
                  </a:cubicBezTo>
                  <a:cubicBezTo>
                    <a:pt x="174" y="201"/>
                    <a:pt x="175" y="201"/>
                    <a:pt x="176" y="201"/>
                  </a:cubicBezTo>
                  <a:cubicBezTo>
                    <a:pt x="179" y="202"/>
                    <a:pt x="182" y="203"/>
                    <a:pt x="185" y="204"/>
                  </a:cubicBezTo>
                  <a:cubicBezTo>
                    <a:pt x="190" y="206"/>
                    <a:pt x="194" y="208"/>
                    <a:pt x="200" y="208"/>
                  </a:cubicBezTo>
                  <a:cubicBezTo>
                    <a:pt x="201" y="208"/>
                    <a:pt x="201" y="208"/>
                    <a:pt x="202" y="208"/>
                  </a:cubicBezTo>
                  <a:cubicBezTo>
                    <a:pt x="205" y="207"/>
                    <a:pt x="207" y="207"/>
                    <a:pt x="209" y="206"/>
                  </a:cubicBezTo>
                  <a:cubicBezTo>
                    <a:pt x="212" y="206"/>
                    <a:pt x="214" y="205"/>
                    <a:pt x="217" y="205"/>
                  </a:cubicBezTo>
                  <a:cubicBezTo>
                    <a:pt x="217" y="205"/>
                    <a:pt x="218" y="205"/>
                    <a:pt x="218" y="205"/>
                  </a:cubicBezTo>
                  <a:cubicBezTo>
                    <a:pt x="222" y="205"/>
                    <a:pt x="227" y="208"/>
                    <a:pt x="231" y="211"/>
                  </a:cubicBezTo>
                  <a:cubicBezTo>
                    <a:pt x="231" y="211"/>
                    <a:pt x="232" y="212"/>
                    <a:pt x="232" y="212"/>
                  </a:cubicBezTo>
                  <a:close/>
                  <a:moveTo>
                    <a:pt x="144" y="195"/>
                  </a:moveTo>
                  <a:cubicBezTo>
                    <a:pt x="144" y="195"/>
                    <a:pt x="145" y="195"/>
                    <a:pt x="146" y="195"/>
                  </a:cubicBezTo>
                  <a:cubicBezTo>
                    <a:pt x="146" y="195"/>
                    <a:pt x="146" y="195"/>
                    <a:pt x="146" y="195"/>
                  </a:cubicBezTo>
                  <a:cubicBezTo>
                    <a:pt x="147" y="195"/>
                    <a:pt x="147" y="195"/>
                    <a:pt x="148" y="196"/>
                  </a:cubicBezTo>
                  <a:cubicBezTo>
                    <a:pt x="149" y="196"/>
                    <a:pt x="149" y="196"/>
                    <a:pt x="150" y="197"/>
                  </a:cubicBezTo>
                  <a:cubicBezTo>
                    <a:pt x="150" y="197"/>
                    <a:pt x="151" y="197"/>
                    <a:pt x="152" y="197"/>
                  </a:cubicBezTo>
                  <a:cubicBezTo>
                    <a:pt x="152" y="197"/>
                    <a:pt x="151" y="197"/>
                    <a:pt x="151" y="197"/>
                  </a:cubicBezTo>
                  <a:cubicBezTo>
                    <a:pt x="149" y="197"/>
                    <a:pt x="147" y="198"/>
                    <a:pt x="145" y="199"/>
                  </a:cubicBezTo>
                  <a:cubicBezTo>
                    <a:pt x="144" y="199"/>
                    <a:pt x="143" y="199"/>
                    <a:pt x="143" y="199"/>
                  </a:cubicBezTo>
                  <a:cubicBezTo>
                    <a:pt x="143" y="199"/>
                    <a:pt x="143" y="199"/>
                    <a:pt x="143" y="198"/>
                  </a:cubicBezTo>
                  <a:cubicBezTo>
                    <a:pt x="143" y="197"/>
                    <a:pt x="143" y="196"/>
                    <a:pt x="144" y="195"/>
                  </a:cubicBezTo>
                  <a:close/>
                  <a:moveTo>
                    <a:pt x="154" y="38"/>
                  </a:moveTo>
                  <a:cubicBezTo>
                    <a:pt x="151" y="38"/>
                    <a:pt x="148" y="41"/>
                    <a:pt x="146" y="42"/>
                  </a:cubicBezTo>
                  <a:cubicBezTo>
                    <a:pt x="146" y="43"/>
                    <a:pt x="145" y="43"/>
                    <a:pt x="144" y="44"/>
                  </a:cubicBezTo>
                  <a:cubicBezTo>
                    <a:pt x="144" y="44"/>
                    <a:pt x="144" y="44"/>
                    <a:pt x="144" y="44"/>
                  </a:cubicBezTo>
                  <a:cubicBezTo>
                    <a:pt x="143" y="41"/>
                    <a:pt x="141" y="40"/>
                    <a:pt x="138" y="38"/>
                  </a:cubicBezTo>
                  <a:cubicBezTo>
                    <a:pt x="135" y="36"/>
                    <a:pt x="131" y="34"/>
                    <a:pt x="126" y="34"/>
                  </a:cubicBezTo>
                  <a:cubicBezTo>
                    <a:pt x="128" y="33"/>
                    <a:pt x="129" y="33"/>
                    <a:pt x="131" y="33"/>
                  </a:cubicBezTo>
                  <a:cubicBezTo>
                    <a:pt x="135" y="33"/>
                    <a:pt x="140" y="34"/>
                    <a:pt x="144" y="36"/>
                  </a:cubicBezTo>
                  <a:cubicBezTo>
                    <a:pt x="147" y="36"/>
                    <a:pt x="150" y="37"/>
                    <a:pt x="153" y="38"/>
                  </a:cubicBezTo>
                  <a:cubicBezTo>
                    <a:pt x="154" y="38"/>
                    <a:pt x="154" y="38"/>
                    <a:pt x="155" y="38"/>
                  </a:cubicBezTo>
                  <a:cubicBezTo>
                    <a:pt x="155" y="38"/>
                    <a:pt x="155" y="38"/>
                    <a:pt x="154" y="38"/>
                  </a:cubicBezTo>
                  <a:close/>
                  <a:moveTo>
                    <a:pt x="311" y="415"/>
                  </a:moveTo>
                  <a:cubicBezTo>
                    <a:pt x="311" y="415"/>
                    <a:pt x="311" y="415"/>
                    <a:pt x="311" y="415"/>
                  </a:cubicBezTo>
                  <a:cubicBezTo>
                    <a:pt x="310" y="417"/>
                    <a:pt x="310" y="417"/>
                    <a:pt x="310" y="417"/>
                  </a:cubicBezTo>
                  <a:cubicBezTo>
                    <a:pt x="309" y="417"/>
                    <a:pt x="309" y="417"/>
                    <a:pt x="309" y="417"/>
                  </a:cubicBezTo>
                  <a:cubicBezTo>
                    <a:pt x="310" y="418"/>
                    <a:pt x="310" y="422"/>
                    <a:pt x="310" y="423"/>
                  </a:cubicBezTo>
                  <a:cubicBezTo>
                    <a:pt x="310" y="424"/>
                    <a:pt x="309" y="426"/>
                    <a:pt x="305" y="426"/>
                  </a:cubicBezTo>
                  <a:cubicBezTo>
                    <a:pt x="302" y="426"/>
                    <a:pt x="299" y="425"/>
                    <a:pt x="297" y="424"/>
                  </a:cubicBezTo>
                  <a:cubicBezTo>
                    <a:pt x="296" y="424"/>
                    <a:pt x="296" y="424"/>
                    <a:pt x="296" y="424"/>
                  </a:cubicBezTo>
                  <a:cubicBezTo>
                    <a:pt x="294" y="423"/>
                    <a:pt x="292" y="423"/>
                    <a:pt x="291" y="423"/>
                  </a:cubicBezTo>
                  <a:cubicBezTo>
                    <a:pt x="285" y="423"/>
                    <a:pt x="281" y="426"/>
                    <a:pt x="277" y="430"/>
                  </a:cubicBezTo>
                  <a:cubicBezTo>
                    <a:pt x="276" y="431"/>
                    <a:pt x="276" y="431"/>
                    <a:pt x="276" y="431"/>
                  </a:cubicBezTo>
                  <a:cubicBezTo>
                    <a:pt x="270" y="437"/>
                    <a:pt x="261" y="445"/>
                    <a:pt x="253" y="445"/>
                  </a:cubicBezTo>
                  <a:cubicBezTo>
                    <a:pt x="252" y="445"/>
                    <a:pt x="250" y="445"/>
                    <a:pt x="248" y="444"/>
                  </a:cubicBezTo>
                  <a:cubicBezTo>
                    <a:pt x="247" y="443"/>
                    <a:pt x="245" y="442"/>
                    <a:pt x="243" y="442"/>
                  </a:cubicBezTo>
                  <a:cubicBezTo>
                    <a:pt x="242" y="442"/>
                    <a:pt x="241" y="442"/>
                    <a:pt x="240" y="442"/>
                  </a:cubicBezTo>
                  <a:cubicBezTo>
                    <a:pt x="238" y="443"/>
                    <a:pt x="237" y="443"/>
                    <a:pt x="236" y="444"/>
                  </a:cubicBezTo>
                  <a:cubicBezTo>
                    <a:pt x="235" y="444"/>
                    <a:pt x="235" y="445"/>
                    <a:pt x="234" y="445"/>
                  </a:cubicBezTo>
                  <a:cubicBezTo>
                    <a:pt x="233" y="445"/>
                    <a:pt x="233" y="446"/>
                    <a:pt x="232" y="446"/>
                  </a:cubicBezTo>
                  <a:cubicBezTo>
                    <a:pt x="230" y="446"/>
                    <a:pt x="229" y="447"/>
                    <a:pt x="227" y="449"/>
                  </a:cubicBezTo>
                  <a:cubicBezTo>
                    <a:pt x="226" y="449"/>
                    <a:pt x="226" y="450"/>
                    <a:pt x="225" y="450"/>
                  </a:cubicBezTo>
                  <a:cubicBezTo>
                    <a:pt x="224" y="451"/>
                    <a:pt x="223" y="452"/>
                    <a:pt x="223" y="452"/>
                  </a:cubicBezTo>
                  <a:cubicBezTo>
                    <a:pt x="222" y="453"/>
                    <a:pt x="220" y="453"/>
                    <a:pt x="219" y="453"/>
                  </a:cubicBezTo>
                  <a:cubicBezTo>
                    <a:pt x="217" y="453"/>
                    <a:pt x="215" y="453"/>
                    <a:pt x="214" y="453"/>
                  </a:cubicBezTo>
                  <a:cubicBezTo>
                    <a:pt x="213" y="453"/>
                    <a:pt x="211" y="453"/>
                    <a:pt x="210" y="452"/>
                  </a:cubicBezTo>
                  <a:cubicBezTo>
                    <a:pt x="208" y="452"/>
                    <a:pt x="206" y="452"/>
                    <a:pt x="204" y="450"/>
                  </a:cubicBezTo>
                  <a:cubicBezTo>
                    <a:pt x="203" y="450"/>
                    <a:pt x="202" y="449"/>
                    <a:pt x="200" y="449"/>
                  </a:cubicBezTo>
                  <a:cubicBezTo>
                    <a:pt x="199" y="448"/>
                    <a:pt x="197" y="448"/>
                    <a:pt x="196" y="448"/>
                  </a:cubicBezTo>
                  <a:cubicBezTo>
                    <a:pt x="194" y="447"/>
                    <a:pt x="192" y="447"/>
                    <a:pt x="191" y="446"/>
                  </a:cubicBezTo>
                  <a:cubicBezTo>
                    <a:pt x="186" y="443"/>
                    <a:pt x="180" y="437"/>
                    <a:pt x="179" y="432"/>
                  </a:cubicBezTo>
                  <a:cubicBezTo>
                    <a:pt x="179" y="431"/>
                    <a:pt x="179" y="431"/>
                    <a:pt x="179" y="430"/>
                  </a:cubicBezTo>
                  <a:cubicBezTo>
                    <a:pt x="180" y="430"/>
                    <a:pt x="182" y="431"/>
                    <a:pt x="183" y="432"/>
                  </a:cubicBezTo>
                  <a:cubicBezTo>
                    <a:pt x="184" y="432"/>
                    <a:pt x="185" y="433"/>
                    <a:pt x="186" y="433"/>
                  </a:cubicBezTo>
                  <a:cubicBezTo>
                    <a:pt x="188" y="434"/>
                    <a:pt x="190" y="435"/>
                    <a:pt x="192" y="435"/>
                  </a:cubicBezTo>
                  <a:cubicBezTo>
                    <a:pt x="197" y="435"/>
                    <a:pt x="200" y="431"/>
                    <a:pt x="201" y="429"/>
                  </a:cubicBezTo>
                  <a:cubicBezTo>
                    <a:pt x="203" y="427"/>
                    <a:pt x="204" y="425"/>
                    <a:pt x="206" y="423"/>
                  </a:cubicBezTo>
                  <a:cubicBezTo>
                    <a:pt x="207" y="423"/>
                    <a:pt x="207" y="423"/>
                    <a:pt x="208" y="423"/>
                  </a:cubicBezTo>
                  <a:cubicBezTo>
                    <a:pt x="208" y="423"/>
                    <a:pt x="210" y="424"/>
                    <a:pt x="211" y="424"/>
                  </a:cubicBezTo>
                  <a:cubicBezTo>
                    <a:pt x="213" y="425"/>
                    <a:pt x="215" y="426"/>
                    <a:pt x="217" y="426"/>
                  </a:cubicBezTo>
                  <a:cubicBezTo>
                    <a:pt x="219" y="426"/>
                    <a:pt x="220" y="426"/>
                    <a:pt x="221" y="425"/>
                  </a:cubicBezTo>
                  <a:cubicBezTo>
                    <a:pt x="229" y="421"/>
                    <a:pt x="225" y="414"/>
                    <a:pt x="223" y="409"/>
                  </a:cubicBezTo>
                  <a:cubicBezTo>
                    <a:pt x="223" y="407"/>
                    <a:pt x="222" y="406"/>
                    <a:pt x="222" y="405"/>
                  </a:cubicBezTo>
                  <a:cubicBezTo>
                    <a:pt x="222" y="403"/>
                    <a:pt x="222" y="401"/>
                    <a:pt x="222" y="400"/>
                  </a:cubicBezTo>
                  <a:cubicBezTo>
                    <a:pt x="222" y="396"/>
                    <a:pt x="223" y="391"/>
                    <a:pt x="217" y="388"/>
                  </a:cubicBezTo>
                  <a:cubicBezTo>
                    <a:pt x="217" y="386"/>
                    <a:pt x="217" y="383"/>
                    <a:pt x="217" y="382"/>
                  </a:cubicBezTo>
                  <a:cubicBezTo>
                    <a:pt x="217" y="382"/>
                    <a:pt x="217" y="382"/>
                    <a:pt x="218" y="383"/>
                  </a:cubicBezTo>
                  <a:cubicBezTo>
                    <a:pt x="219" y="383"/>
                    <a:pt x="220" y="385"/>
                    <a:pt x="221" y="387"/>
                  </a:cubicBezTo>
                  <a:cubicBezTo>
                    <a:pt x="222" y="389"/>
                    <a:pt x="223" y="391"/>
                    <a:pt x="225" y="393"/>
                  </a:cubicBezTo>
                  <a:cubicBezTo>
                    <a:pt x="231" y="398"/>
                    <a:pt x="233" y="404"/>
                    <a:pt x="236" y="412"/>
                  </a:cubicBezTo>
                  <a:cubicBezTo>
                    <a:pt x="236" y="412"/>
                    <a:pt x="236" y="412"/>
                    <a:pt x="236" y="412"/>
                  </a:cubicBezTo>
                  <a:cubicBezTo>
                    <a:pt x="239" y="422"/>
                    <a:pt x="247" y="429"/>
                    <a:pt x="256" y="430"/>
                  </a:cubicBezTo>
                  <a:cubicBezTo>
                    <a:pt x="258" y="431"/>
                    <a:pt x="259" y="431"/>
                    <a:pt x="260" y="431"/>
                  </a:cubicBezTo>
                  <a:cubicBezTo>
                    <a:pt x="263" y="431"/>
                    <a:pt x="267" y="430"/>
                    <a:pt x="269" y="428"/>
                  </a:cubicBezTo>
                  <a:cubicBezTo>
                    <a:pt x="270" y="428"/>
                    <a:pt x="271" y="427"/>
                    <a:pt x="271" y="427"/>
                  </a:cubicBezTo>
                  <a:cubicBezTo>
                    <a:pt x="272" y="426"/>
                    <a:pt x="272" y="426"/>
                    <a:pt x="273" y="426"/>
                  </a:cubicBezTo>
                  <a:cubicBezTo>
                    <a:pt x="273" y="426"/>
                    <a:pt x="274" y="426"/>
                    <a:pt x="275" y="425"/>
                  </a:cubicBezTo>
                  <a:cubicBezTo>
                    <a:pt x="276" y="425"/>
                    <a:pt x="277" y="425"/>
                    <a:pt x="279" y="424"/>
                  </a:cubicBezTo>
                  <a:cubicBezTo>
                    <a:pt x="280" y="423"/>
                    <a:pt x="282" y="422"/>
                    <a:pt x="283" y="421"/>
                  </a:cubicBezTo>
                  <a:cubicBezTo>
                    <a:pt x="284" y="421"/>
                    <a:pt x="285" y="420"/>
                    <a:pt x="286" y="419"/>
                  </a:cubicBezTo>
                  <a:cubicBezTo>
                    <a:pt x="288" y="418"/>
                    <a:pt x="290" y="416"/>
                    <a:pt x="291" y="415"/>
                  </a:cubicBezTo>
                  <a:cubicBezTo>
                    <a:pt x="293" y="413"/>
                    <a:pt x="295" y="411"/>
                    <a:pt x="296" y="411"/>
                  </a:cubicBezTo>
                  <a:cubicBezTo>
                    <a:pt x="299" y="410"/>
                    <a:pt x="301" y="410"/>
                    <a:pt x="304" y="410"/>
                  </a:cubicBezTo>
                  <a:cubicBezTo>
                    <a:pt x="307" y="410"/>
                    <a:pt x="310" y="411"/>
                    <a:pt x="313" y="412"/>
                  </a:cubicBezTo>
                  <a:cubicBezTo>
                    <a:pt x="313" y="412"/>
                    <a:pt x="313" y="412"/>
                    <a:pt x="313" y="412"/>
                  </a:cubicBezTo>
                  <a:cubicBezTo>
                    <a:pt x="313" y="412"/>
                    <a:pt x="313" y="412"/>
                    <a:pt x="312" y="412"/>
                  </a:cubicBezTo>
                  <a:cubicBezTo>
                    <a:pt x="312" y="412"/>
                    <a:pt x="312" y="412"/>
                    <a:pt x="312" y="412"/>
                  </a:cubicBezTo>
                  <a:cubicBezTo>
                    <a:pt x="310" y="412"/>
                    <a:pt x="310" y="412"/>
                    <a:pt x="310" y="412"/>
                  </a:cubicBezTo>
                  <a:cubicBezTo>
                    <a:pt x="310" y="412"/>
                    <a:pt x="310" y="412"/>
                    <a:pt x="310" y="412"/>
                  </a:cubicBezTo>
                  <a:cubicBezTo>
                    <a:pt x="311" y="415"/>
                    <a:pt x="311" y="415"/>
                    <a:pt x="311" y="415"/>
                  </a:cubicBezTo>
                  <a:cubicBezTo>
                    <a:pt x="311" y="415"/>
                    <a:pt x="311" y="415"/>
                    <a:pt x="311" y="415"/>
                  </a:cubicBezTo>
                  <a:close/>
                  <a:moveTo>
                    <a:pt x="320" y="416"/>
                  </a:moveTo>
                  <a:cubicBezTo>
                    <a:pt x="319" y="416"/>
                    <a:pt x="319" y="416"/>
                    <a:pt x="319" y="416"/>
                  </a:cubicBezTo>
                  <a:cubicBezTo>
                    <a:pt x="318" y="416"/>
                    <a:pt x="318" y="415"/>
                    <a:pt x="317" y="415"/>
                  </a:cubicBezTo>
                  <a:cubicBezTo>
                    <a:pt x="316" y="414"/>
                    <a:pt x="314" y="413"/>
                    <a:pt x="313" y="412"/>
                  </a:cubicBezTo>
                  <a:cubicBezTo>
                    <a:pt x="315" y="413"/>
                    <a:pt x="318" y="415"/>
                    <a:pt x="320" y="416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5" name="Freeform 64"/>
            <p:cNvSpPr>
              <a:spLocks/>
            </p:cNvSpPr>
            <p:nvPr/>
          </p:nvSpPr>
          <p:spPr bwMode="auto">
            <a:xfrm>
              <a:off x="19082517" y="9382633"/>
              <a:ext cx="266727" cy="113861"/>
            </a:xfrm>
            <a:custGeom>
              <a:avLst/>
              <a:gdLst>
                <a:gd name="T0" fmla="*/ 41 w 49"/>
                <a:gd name="T1" fmla="*/ 4 h 23"/>
                <a:gd name="T2" fmla="*/ 41 w 49"/>
                <a:gd name="T3" fmla="*/ 4 h 23"/>
                <a:gd name="T4" fmla="*/ 36 w 49"/>
                <a:gd name="T5" fmla="*/ 0 h 23"/>
                <a:gd name="T6" fmla="*/ 35 w 49"/>
                <a:gd name="T7" fmla="*/ 0 h 23"/>
                <a:gd name="T8" fmla="*/ 30 w 49"/>
                <a:gd name="T9" fmla="*/ 2 h 23"/>
                <a:gd name="T10" fmla="*/ 30 w 49"/>
                <a:gd name="T11" fmla="*/ 2 h 23"/>
                <a:gd name="T12" fmla="*/ 25 w 49"/>
                <a:gd name="T13" fmla="*/ 0 h 23"/>
                <a:gd name="T14" fmla="*/ 19 w 49"/>
                <a:gd name="T15" fmla="*/ 3 h 23"/>
                <a:gd name="T16" fmla="*/ 18 w 49"/>
                <a:gd name="T17" fmla="*/ 6 h 23"/>
                <a:gd name="T18" fmla="*/ 18 w 49"/>
                <a:gd name="T19" fmla="*/ 7 h 23"/>
                <a:gd name="T20" fmla="*/ 18 w 49"/>
                <a:gd name="T21" fmla="*/ 7 h 23"/>
                <a:gd name="T22" fmla="*/ 17 w 49"/>
                <a:gd name="T23" fmla="*/ 7 h 23"/>
                <a:gd name="T24" fmla="*/ 17 w 49"/>
                <a:gd name="T25" fmla="*/ 7 h 23"/>
                <a:gd name="T26" fmla="*/ 14 w 49"/>
                <a:gd name="T27" fmla="*/ 3 h 23"/>
                <a:gd name="T28" fmla="*/ 9 w 49"/>
                <a:gd name="T29" fmla="*/ 2 h 23"/>
                <a:gd name="T30" fmla="*/ 5 w 49"/>
                <a:gd name="T31" fmla="*/ 3 h 23"/>
                <a:gd name="T32" fmla="*/ 0 w 49"/>
                <a:gd name="T33" fmla="*/ 8 h 23"/>
                <a:gd name="T34" fmla="*/ 2 w 49"/>
                <a:gd name="T35" fmla="*/ 13 h 23"/>
                <a:gd name="T36" fmla="*/ 10 w 49"/>
                <a:gd name="T37" fmla="*/ 15 h 23"/>
                <a:gd name="T38" fmla="*/ 15 w 49"/>
                <a:gd name="T39" fmla="*/ 14 h 23"/>
                <a:gd name="T40" fmla="*/ 15 w 49"/>
                <a:gd name="T41" fmla="*/ 14 h 23"/>
                <a:gd name="T42" fmla="*/ 21 w 49"/>
                <a:gd name="T43" fmla="*/ 18 h 23"/>
                <a:gd name="T44" fmla="*/ 29 w 49"/>
                <a:gd name="T45" fmla="*/ 21 h 23"/>
                <a:gd name="T46" fmla="*/ 36 w 49"/>
                <a:gd name="T47" fmla="*/ 23 h 23"/>
                <a:gd name="T48" fmla="*/ 42 w 49"/>
                <a:gd name="T49" fmla="*/ 21 h 23"/>
                <a:gd name="T50" fmla="*/ 49 w 49"/>
                <a:gd name="T51" fmla="*/ 10 h 23"/>
                <a:gd name="T52" fmla="*/ 41 w 49"/>
                <a:gd name="T53" fmla="*/ 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9" h="23">
                  <a:moveTo>
                    <a:pt x="41" y="4"/>
                  </a:moveTo>
                  <a:cubicBezTo>
                    <a:pt x="41" y="4"/>
                    <a:pt x="41" y="4"/>
                    <a:pt x="41" y="4"/>
                  </a:cubicBezTo>
                  <a:cubicBezTo>
                    <a:pt x="41" y="2"/>
                    <a:pt x="40" y="0"/>
                    <a:pt x="36" y="0"/>
                  </a:cubicBezTo>
                  <a:cubicBezTo>
                    <a:pt x="36" y="0"/>
                    <a:pt x="35" y="0"/>
                    <a:pt x="35" y="0"/>
                  </a:cubicBezTo>
                  <a:cubicBezTo>
                    <a:pt x="32" y="0"/>
                    <a:pt x="31" y="1"/>
                    <a:pt x="30" y="2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28" y="1"/>
                    <a:pt x="27" y="0"/>
                    <a:pt x="25" y="0"/>
                  </a:cubicBezTo>
                  <a:cubicBezTo>
                    <a:pt x="23" y="0"/>
                    <a:pt x="21" y="1"/>
                    <a:pt x="19" y="3"/>
                  </a:cubicBezTo>
                  <a:cubicBezTo>
                    <a:pt x="18" y="4"/>
                    <a:pt x="18" y="5"/>
                    <a:pt x="18" y="6"/>
                  </a:cubicBezTo>
                  <a:cubicBezTo>
                    <a:pt x="18" y="6"/>
                    <a:pt x="18" y="7"/>
                    <a:pt x="18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7" y="7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6" y="6"/>
                    <a:pt x="15" y="4"/>
                    <a:pt x="14" y="3"/>
                  </a:cubicBezTo>
                  <a:cubicBezTo>
                    <a:pt x="12" y="2"/>
                    <a:pt x="11" y="2"/>
                    <a:pt x="9" y="2"/>
                  </a:cubicBezTo>
                  <a:cubicBezTo>
                    <a:pt x="8" y="2"/>
                    <a:pt x="7" y="2"/>
                    <a:pt x="5" y="3"/>
                  </a:cubicBezTo>
                  <a:cubicBezTo>
                    <a:pt x="3" y="3"/>
                    <a:pt x="1" y="5"/>
                    <a:pt x="0" y="8"/>
                  </a:cubicBezTo>
                  <a:cubicBezTo>
                    <a:pt x="0" y="10"/>
                    <a:pt x="1" y="11"/>
                    <a:pt x="2" y="13"/>
                  </a:cubicBezTo>
                  <a:cubicBezTo>
                    <a:pt x="4" y="14"/>
                    <a:pt x="8" y="15"/>
                    <a:pt x="10" y="15"/>
                  </a:cubicBezTo>
                  <a:cubicBezTo>
                    <a:pt x="12" y="15"/>
                    <a:pt x="14" y="14"/>
                    <a:pt x="15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6" y="17"/>
                    <a:pt x="19" y="18"/>
                    <a:pt x="21" y="18"/>
                  </a:cubicBezTo>
                  <a:cubicBezTo>
                    <a:pt x="24" y="19"/>
                    <a:pt x="26" y="20"/>
                    <a:pt x="29" y="21"/>
                  </a:cubicBezTo>
                  <a:cubicBezTo>
                    <a:pt x="32" y="22"/>
                    <a:pt x="34" y="23"/>
                    <a:pt x="36" y="23"/>
                  </a:cubicBezTo>
                  <a:cubicBezTo>
                    <a:pt x="38" y="23"/>
                    <a:pt x="40" y="22"/>
                    <a:pt x="42" y="21"/>
                  </a:cubicBezTo>
                  <a:cubicBezTo>
                    <a:pt x="45" y="19"/>
                    <a:pt x="49" y="15"/>
                    <a:pt x="49" y="10"/>
                  </a:cubicBezTo>
                  <a:cubicBezTo>
                    <a:pt x="49" y="9"/>
                    <a:pt x="48" y="4"/>
                    <a:pt x="41" y="4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6" name="Freeform 65"/>
            <p:cNvSpPr>
              <a:spLocks/>
            </p:cNvSpPr>
            <p:nvPr/>
          </p:nvSpPr>
          <p:spPr bwMode="auto">
            <a:xfrm>
              <a:off x="21757998" y="8544543"/>
              <a:ext cx="387781" cy="158658"/>
            </a:xfrm>
            <a:custGeom>
              <a:avLst/>
              <a:gdLst>
                <a:gd name="T0" fmla="*/ 71 w 71"/>
                <a:gd name="T1" fmla="*/ 6 h 32"/>
                <a:gd name="T2" fmla="*/ 70 w 71"/>
                <a:gd name="T3" fmla="*/ 1 h 32"/>
                <a:gd name="T4" fmla="*/ 66 w 71"/>
                <a:gd name="T5" fmla="*/ 0 h 32"/>
                <a:gd name="T6" fmla="*/ 56 w 71"/>
                <a:gd name="T7" fmla="*/ 5 h 32"/>
                <a:gd name="T8" fmla="*/ 46 w 71"/>
                <a:gd name="T9" fmla="*/ 13 h 32"/>
                <a:gd name="T10" fmla="*/ 41 w 71"/>
                <a:gd name="T11" fmla="*/ 15 h 32"/>
                <a:gd name="T12" fmla="*/ 36 w 71"/>
                <a:gd name="T13" fmla="*/ 17 h 32"/>
                <a:gd name="T14" fmla="*/ 34 w 71"/>
                <a:gd name="T15" fmla="*/ 16 h 32"/>
                <a:gd name="T16" fmla="*/ 33 w 71"/>
                <a:gd name="T17" fmla="*/ 16 h 32"/>
                <a:gd name="T18" fmla="*/ 29 w 71"/>
                <a:gd name="T19" fmla="*/ 14 h 32"/>
                <a:gd name="T20" fmla="*/ 24 w 71"/>
                <a:gd name="T21" fmla="*/ 16 h 32"/>
                <a:gd name="T22" fmla="*/ 23 w 71"/>
                <a:gd name="T23" fmla="*/ 18 h 32"/>
                <a:gd name="T24" fmla="*/ 23 w 71"/>
                <a:gd name="T25" fmla="*/ 18 h 32"/>
                <a:gd name="T26" fmla="*/ 19 w 71"/>
                <a:gd name="T27" fmla="*/ 14 h 32"/>
                <a:gd name="T28" fmla="*/ 16 w 71"/>
                <a:gd name="T29" fmla="*/ 12 h 32"/>
                <a:gd name="T30" fmla="*/ 14 w 71"/>
                <a:gd name="T31" fmla="*/ 11 h 32"/>
                <a:gd name="T32" fmla="*/ 15 w 71"/>
                <a:gd name="T33" fmla="*/ 10 h 32"/>
                <a:gd name="T34" fmla="*/ 14 w 71"/>
                <a:gd name="T35" fmla="*/ 5 h 32"/>
                <a:gd name="T36" fmla="*/ 10 w 71"/>
                <a:gd name="T37" fmla="*/ 2 h 32"/>
                <a:gd name="T38" fmla="*/ 5 w 71"/>
                <a:gd name="T39" fmla="*/ 5 h 32"/>
                <a:gd name="T40" fmla="*/ 2 w 71"/>
                <a:gd name="T41" fmla="*/ 12 h 32"/>
                <a:gd name="T42" fmla="*/ 3 w 71"/>
                <a:gd name="T43" fmla="*/ 22 h 32"/>
                <a:gd name="T44" fmla="*/ 8 w 71"/>
                <a:gd name="T45" fmla="*/ 25 h 32"/>
                <a:gd name="T46" fmla="*/ 10 w 71"/>
                <a:gd name="T47" fmla="*/ 25 h 32"/>
                <a:gd name="T48" fmla="*/ 11 w 71"/>
                <a:gd name="T49" fmla="*/ 25 h 32"/>
                <a:gd name="T50" fmla="*/ 11 w 71"/>
                <a:gd name="T51" fmla="*/ 25 h 32"/>
                <a:gd name="T52" fmla="*/ 12 w 71"/>
                <a:gd name="T53" fmla="*/ 26 h 32"/>
                <a:gd name="T54" fmla="*/ 15 w 71"/>
                <a:gd name="T55" fmla="*/ 30 h 32"/>
                <a:gd name="T56" fmla="*/ 18 w 71"/>
                <a:gd name="T57" fmla="*/ 30 h 32"/>
                <a:gd name="T58" fmla="*/ 22 w 71"/>
                <a:gd name="T59" fmla="*/ 28 h 32"/>
                <a:gd name="T60" fmla="*/ 25 w 71"/>
                <a:gd name="T61" fmla="*/ 28 h 32"/>
                <a:gd name="T62" fmla="*/ 27 w 71"/>
                <a:gd name="T63" fmla="*/ 28 h 32"/>
                <a:gd name="T64" fmla="*/ 31 w 71"/>
                <a:gd name="T65" fmla="*/ 29 h 32"/>
                <a:gd name="T66" fmla="*/ 33 w 71"/>
                <a:gd name="T67" fmla="*/ 28 h 32"/>
                <a:gd name="T68" fmla="*/ 34 w 71"/>
                <a:gd name="T69" fmla="*/ 28 h 32"/>
                <a:gd name="T70" fmla="*/ 37 w 71"/>
                <a:gd name="T71" fmla="*/ 28 h 32"/>
                <a:gd name="T72" fmla="*/ 38 w 71"/>
                <a:gd name="T73" fmla="*/ 28 h 32"/>
                <a:gd name="T74" fmla="*/ 40 w 71"/>
                <a:gd name="T75" fmla="*/ 28 h 32"/>
                <a:gd name="T76" fmla="*/ 44 w 71"/>
                <a:gd name="T77" fmla="*/ 28 h 32"/>
                <a:gd name="T78" fmla="*/ 47 w 71"/>
                <a:gd name="T79" fmla="*/ 27 h 32"/>
                <a:gd name="T80" fmla="*/ 51 w 71"/>
                <a:gd name="T81" fmla="*/ 29 h 32"/>
                <a:gd name="T82" fmla="*/ 58 w 71"/>
                <a:gd name="T83" fmla="*/ 32 h 32"/>
                <a:gd name="T84" fmla="*/ 63 w 71"/>
                <a:gd name="T85" fmla="*/ 27 h 32"/>
                <a:gd name="T86" fmla="*/ 66 w 71"/>
                <a:gd name="T87" fmla="*/ 25 h 32"/>
                <a:gd name="T88" fmla="*/ 66 w 71"/>
                <a:gd name="T89" fmla="*/ 19 h 32"/>
                <a:gd name="T90" fmla="*/ 63 w 71"/>
                <a:gd name="T91" fmla="*/ 16 h 32"/>
                <a:gd name="T92" fmla="*/ 71 w 71"/>
                <a:gd name="T93" fmla="*/ 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1" h="32">
                  <a:moveTo>
                    <a:pt x="71" y="6"/>
                  </a:moveTo>
                  <a:cubicBezTo>
                    <a:pt x="71" y="4"/>
                    <a:pt x="71" y="2"/>
                    <a:pt x="70" y="1"/>
                  </a:cubicBezTo>
                  <a:cubicBezTo>
                    <a:pt x="69" y="0"/>
                    <a:pt x="68" y="0"/>
                    <a:pt x="66" y="0"/>
                  </a:cubicBezTo>
                  <a:cubicBezTo>
                    <a:pt x="62" y="0"/>
                    <a:pt x="56" y="5"/>
                    <a:pt x="56" y="5"/>
                  </a:cubicBezTo>
                  <a:cubicBezTo>
                    <a:pt x="53" y="8"/>
                    <a:pt x="50" y="11"/>
                    <a:pt x="46" y="13"/>
                  </a:cubicBezTo>
                  <a:cubicBezTo>
                    <a:pt x="44" y="13"/>
                    <a:pt x="42" y="14"/>
                    <a:pt x="41" y="15"/>
                  </a:cubicBezTo>
                  <a:cubicBezTo>
                    <a:pt x="39" y="16"/>
                    <a:pt x="37" y="17"/>
                    <a:pt x="36" y="17"/>
                  </a:cubicBezTo>
                  <a:cubicBezTo>
                    <a:pt x="35" y="17"/>
                    <a:pt x="35" y="17"/>
                    <a:pt x="34" y="16"/>
                  </a:cubicBezTo>
                  <a:cubicBezTo>
                    <a:pt x="34" y="16"/>
                    <a:pt x="33" y="16"/>
                    <a:pt x="33" y="16"/>
                  </a:cubicBezTo>
                  <a:cubicBezTo>
                    <a:pt x="32" y="15"/>
                    <a:pt x="30" y="14"/>
                    <a:pt x="29" y="14"/>
                  </a:cubicBezTo>
                  <a:cubicBezTo>
                    <a:pt x="27" y="14"/>
                    <a:pt x="26" y="15"/>
                    <a:pt x="24" y="16"/>
                  </a:cubicBezTo>
                  <a:cubicBezTo>
                    <a:pt x="24" y="17"/>
                    <a:pt x="23" y="17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6"/>
                    <a:pt x="21" y="15"/>
                    <a:pt x="19" y="14"/>
                  </a:cubicBezTo>
                  <a:cubicBezTo>
                    <a:pt x="18" y="13"/>
                    <a:pt x="17" y="13"/>
                    <a:pt x="16" y="12"/>
                  </a:cubicBezTo>
                  <a:cubicBezTo>
                    <a:pt x="16" y="12"/>
                    <a:pt x="15" y="11"/>
                    <a:pt x="14" y="11"/>
                  </a:cubicBezTo>
                  <a:cubicBezTo>
                    <a:pt x="14" y="11"/>
                    <a:pt x="14" y="10"/>
                    <a:pt x="15" y="10"/>
                  </a:cubicBezTo>
                  <a:cubicBezTo>
                    <a:pt x="15" y="9"/>
                    <a:pt x="15" y="7"/>
                    <a:pt x="14" y="5"/>
                  </a:cubicBezTo>
                  <a:cubicBezTo>
                    <a:pt x="14" y="3"/>
                    <a:pt x="12" y="2"/>
                    <a:pt x="10" y="2"/>
                  </a:cubicBezTo>
                  <a:cubicBezTo>
                    <a:pt x="8" y="2"/>
                    <a:pt x="7" y="3"/>
                    <a:pt x="5" y="5"/>
                  </a:cubicBezTo>
                  <a:cubicBezTo>
                    <a:pt x="4" y="7"/>
                    <a:pt x="3" y="9"/>
                    <a:pt x="2" y="12"/>
                  </a:cubicBezTo>
                  <a:cubicBezTo>
                    <a:pt x="2" y="13"/>
                    <a:pt x="0" y="18"/>
                    <a:pt x="3" y="22"/>
                  </a:cubicBezTo>
                  <a:cubicBezTo>
                    <a:pt x="4" y="24"/>
                    <a:pt x="6" y="25"/>
                    <a:pt x="8" y="25"/>
                  </a:cubicBezTo>
                  <a:cubicBezTo>
                    <a:pt x="8" y="25"/>
                    <a:pt x="9" y="25"/>
                    <a:pt x="10" y="25"/>
                  </a:cubicBezTo>
                  <a:cubicBezTo>
                    <a:pt x="10" y="25"/>
                    <a:pt x="10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2" y="25"/>
                    <a:pt x="12" y="26"/>
                  </a:cubicBezTo>
                  <a:cubicBezTo>
                    <a:pt x="12" y="27"/>
                    <a:pt x="13" y="29"/>
                    <a:pt x="15" y="30"/>
                  </a:cubicBezTo>
                  <a:cubicBezTo>
                    <a:pt x="16" y="30"/>
                    <a:pt x="17" y="30"/>
                    <a:pt x="18" y="30"/>
                  </a:cubicBezTo>
                  <a:cubicBezTo>
                    <a:pt x="19" y="30"/>
                    <a:pt x="21" y="29"/>
                    <a:pt x="22" y="28"/>
                  </a:cubicBezTo>
                  <a:cubicBezTo>
                    <a:pt x="23" y="28"/>
                    <a:pt x="24" y="28"/>
                    <a:pt x="25" y="28"/>
                  </a:cubicBezTo>
                  <a:cubicBezTo>
                    <a:pt x="25" y="28"/>
                    <a:pt x="26" y="28"/>
                    <a:pt x="27" y="28"/>
                  </a:cubicBezTo>
                  <a:cubicBezTo>
                    <a:pt x="28" y="28"/>
                    <a:pt x="29" y="29"/>
                    <a:pt x="31" y="29"/>
                  </a:cubicBezTo>
                  <a:cubicBezTo>
                    <a:pt x="32" y="29"/>
                    <a:pt x="32" y="29"/>
                    <a:pt x="33" y="28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5" y="28"/>
                    <a:pt x="36" y="28"/>
                    <a:pt x="37" y="28"/>
                  </a:cubicBezTo>
                  <a:cubicBezTo>
                    <a:pt x="37" y="28"/>
                    <a:pt x="38" y="28"/>
                    <a:pt x="38" y="28"/>
                  </a:cubicBezTo>
                  <a:cubicBezTo>
                    <a:pt x="39" y="28"/>
                    <a:pt x="40" y="28"/>
                    <a:pt x="40" y="28"/>
                  </a:cubicBezTo>
                  <a:cubicBezTo>
                    <a:pt x="42" y="28"/>
                    <a:pt x="43" y="28"/>
                    <a:pt x="44" y="28"/>
                  </a:cubicBezTo>
                  <a:cubicBezTo>
                    <a:pt x="45" y="28"/>
                    <a:pt x="46" y="27"/>
                    <a:pt x="47" y="27"/>
                  </a:cubicBezTo>
                  <a:cubicBezTo>
                    <a:pt x="48" y="27"/>
                    <a:pt x="50" y="28"/>
                    <a:pt x="51" y="29"/>
                  </a:cubicBezTo>
                  <a:cubicBezTo>
                    <a:pt x="53" y="30"/>
                    <a:pt x="56" y="32"/>
                    <a:pt x="58" y="32"/>
                  </a:cubicBezTo>
                  <a:cubicBezTo>
                    <a:pt x="59" y="32"/>
                    <a:pt x="62" y="31"/>
                    <a:pt x="63" y="27"/>
                  </a:cubicBezTo>
                  <a:cubicBezTo>
                    <a:pt x="64" y="27"/>
                    <a:pt x="65" y="26"/>
                    <a:pt x="66" y="25"/>
                  </a:cubicBezTo>
                  <a:cubicBezTo>
                    <a:pt x="67" y="23"/>
                    <a:pt x="67" y="21"/>
                    <a:pt x="66" y="19"/>
                  </a:cubicBezTo>
                  <a:cubicBezTo>
                    <a:pt x="65" y="18"/>
                    <a:pt x="64" y="17"/>
                    <a:pt x="63" y="16"/>
                  </a:cubicBezTo>
                  <a:cubicBezTo>
                    <a:pt x="67" y="13"/>
                    <a:pt x="71" y="9"/>
                    <a:pt x="71" y="6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7" name="Freeform 66"/>
            <p:cNvSpPr>
              <a:spLocks/>
            </p:cNvSpPr>
            <p:nvPr/>
          </p:nvSpPr>
          <p:spPr bwMode="auto">
            <a:xfrm>
              <a:off x="17338530" y="7338739"/>
              <a:ext cx="3106348" cy="2881984"/>
            </a:xfrm>
            <a:custGeom>
              <a:avLst/>
              <a:gdLst>
                <a:gd name="T0" fmla="*/ 559 w 570"/>
                <a:gd name="T1" fmla="*/ 394 h 581"/>
                <a:gd name="T2" fmla="*/ 526 w 570"/>
                <a:gd name="T3" fmla="*/ 405 h 581"/>
                <a:gd name="T4" fmla="*/ 491 w 570"/>
                <a:gd name="T5" fmla="*/ 395 h 581"/>
                <a:gd name="T6" fmla="*/ 440 w 570"/>
                <a:gd name="T7" fmla="*/ 385 h 581"/>
                <a:gd name="T8" fmla="*/ 410 w 570"/>
                <a:gd name="T9" fmla="*/ 340 h 581"/>
                <a:gd name="T10" fmla="*/ 384 w 570"/>
                <a:gd name="T11" fmla="*/ 194 h 581"/>
                <a:gd name="T12" fmla="*/ 380 w 570"/>
                <a:gd name="T13" fmla="*/ 198 h 581"/>
                <a:gd name="T14" fmla="*/ 354 w 570"/>
                <a:gd name="T15" fmla="*/ 176 h 581"/>
                <a:gd name="T16" fmla="*/ 337 w 570"/>
                <a:gd name="T17" fmla="*/ 165 h 581"/>
                <a:gd name="T18" fmla="*/ 318 w 570"/>
                <a:gd name="T19" fmla="*/ 142 h 581"/>
                <a:gd name="T20" fmla="*/ 316 w 570"/>
                <a:gd name="T21" fmla="*/ 132 h 581"/>
                <a:gd name="T22" fmla="*/ 315 w 570"/>
                <a:gd name="T23" fmla="*/ 115 h 581"/>
                <a:gd name="T24" fmla="*/ 310 w 570"/>
                <a:gd name="T25" fmla="*/ 95 h 581"/>
                <a:gd name="T26" fmla="*/ 309 w 570"/>
                <a:gd name="T27" fmla="*/ 73 h 581"/>
                <a:gd name="T28" fmla="*/ 296 w 570"/>
                <a:gd name="T29" fmla="*/ 54 h 581"/>
                <a:gd name="T30" fmla="*/ 282 w 570"/>
                <a:gd name="T31" fmla="*/ 54 h 581"/>
                <a:gd name="T32" fmla="*/ 269 w 570"/>
                <a:gd name="T33" fmla="*/ 51 h 581"/>
                <a:gd name="T34" fmla="*/ 246 w 570"/>
                <a:gd name="T35" fmla="*/ 56 h 581"/>
                <a:gd name="T36" fmla="*/ 238 w 570"/>
                <a:gd name="T37" fmla="*/ 51 h 581"/>
                <a:gd name="T38" fmla="*/ 226 w 570"/>
                <a:gd name="T39" fmla="*/ 42 h 581"/>
                <a:gd name="T40" fmla="*/ 208 w 570"/>
                <a:gd name="T41" fmla="*/ 36 h 581"/>
                <a:gd name="T42" fmla="*/ 193 w 570"/>
                <a:gd name="T43" fmla="*/ 30 h 581"/>
                <a:gd name="T44" fmla="*/ 177 w 570"/>
                <a:gd name="T45" fmla="*/ 13 h 581"/>
                <a:gd name="T46" fmla="*/ 161 w 570"/>
                <a:gd name="T47" fmla="*/ 1 h 581"/>
                <a:gd name="T48" fmla="*/ 0 w 570"/>
                <a:gd name="T49" fmla="*/ 288 h 581"/>
                <a:gd name="T50" fmla="*/ 6 w 570"/>
                <a:gd name="T51" fmla="*/ 297 h 581"/>
                <a:gd name="T52" fmla="*/ 47 w 570"/>
                <a:gd name="T53" fmla="*/ 322 h 581"/>
                <a:gd name="T54" fmla="*/ 69 w 570"/>
                <a:gd name="T55" fmla="*/ 337 h 581"/>
                <a:gd name="T56" fmla="*/ 87 w 570"/>
                <a:gd name="T57" fmla="*/ 346 h 581"/>
                <a:gd name="T58" fmla="*/ 121 w 570"/>
                <a:gd name="T59" fmla="*/ 345 h 581"/>
                <a:gd name="T60" fmla="*/ 160 w 570"/>
                <a:gd name="T61" fmla="*/ 332 h 581"/>
                <a:gd name="T62" fmla="*/ 182 w 570"/>
                <a:gd name="T63" fmla="*/ 310 h 581"/>
                <a:gd name="T64" fmla="*/ 208 w 570"/>
                <a:gd name="T65" fmla="*/ 316 h 581"/>
                <a:gd name="T66" fmla="*/ 227 w 570"/>
                <a:gd name="T67" fmla="*/ 325 h 581"/>
                <a:gd name="T68" fmla="*/ 243 w 570"/>
                <a:gd name="T69" fmla="*/ 348 h 581"/>
                <a:gd name="T70" fmla="*/ 266 w 570"/>
                <a:gd name="T71" fmla="*/ 346 h 581"/>
                <a:gd name="T72" fmla="*/ 275 w 570"/>
                <a:gd name="T73" fmla="*/ 370 h 581"/>
                <a:gd name="T74" fmla="*/ 282 w 570"/>
                <a:gd name="T75" fmla="*/ 389 h 581"/>
                <a:gd name="T76" fmla="*/ 327 w 570"/>
                <a:gd name="T77" fmla="*/ 413 h 581"/>
                <a:gd name="T78" fmla="*/ 385 w 570"/>
                <a:gd name="T79" fmla="*/ 418 h 581"/>
                <a:gd name="T80" fmla="*/ 393 w 570"/>
                <a:gd name="T81" fmla="*/ 421 h 581"/>
                <a:gd name="T82" fmla="*/ 415 w 570"/>
                <a:gd name="T83" fmla="*/ 448 h 581"/>
                <a:gd name="T84" fmla="*/ 414 w 570"/>
                <a:gd name="T85" fmla="*/ 460 h 581"/>
                <a:gd name="T86" fmla="*/ 398 w 570"/>
                <a:gd name="T87" fmla="*/ 458 h 581"/>
                <a:gd name="T88" fmla="*/ 384 w 570"/>
                <a:gd name="T89" fmla="*/ 447 h 581"/>
                <a:gd name="T90" fmla="*/ 365 w 570"/>
                <a:gd name="T91" fmla="*/ 441 h 581"/>
                <a:gd name="T92" fmla="*/ 374 w 570"/>
                <a:gd name="T93" fmla="*/ 471 h 581"/>
                <a:gd name="T94" fmla="*/ 370 w 570"/>
                <a:gd name="T95" fmla="*/ 495 h 581"/>
                <a:gd name="T96" fmla="*/ 360 w 570"/>
                <a:gd name="T97" fmla="*/ 530 h 581"/>
                <a:gd name="T98" fmla="*/ 363 w 570"/>
                <a:gd name="T99" fmla="*/ 551 h 581"/>
                <a:gd name="T100" fmla="*/ 340 w 570"/>
                <a:gd name="T101" fmla="*/ 577 h 581"/>
                <a:gd name="T102" fmla="*/ 386 w 570"/>
                <a:gd name="T103" fmla="*/ 555 h 581"/>
                <a:gd name="T104" fmla="*/ 409 w 570"/>
                <a:gd name="T105" fmla="*/ 547 h 581"/>
                <a:gd name="T106" fmla="*/ 439 w 570"/>
                <a:gd name="T107" fmla="*/ 535 h 581"/>
                <a:gd name="T108" fmla="*/ 457 w 570"/>
                <a:gd name="T109" fmla="*/ 512 h 581"/>
                <a:gd name="T110" fmla="*/ 441 w 570"/>
                <a:gd name="T111" fmla="*/ 502 h 581"/>
                <a:gd name="T112" fmla="*/ 492 w 570"/>
                <a:gd name="T113" fmla="*/ 477 h 581"/>
                <a:gd name="T114" fmla="*/ 521 w 570"/>
                <a:gd name="T115" fmla="*/ 460 h 581"/>
                <a:gd name="T116" fmla="*/ 570 w 570"/>
                <a:gd name="T117" fmla="*/ 416 h 5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70" h="581">
                  <a:moveTo>
                    <a:pt x="569" y="413"/>
                  </a:moveTo>
                  <a:cubicBezTo>
                    <a:pt x="568" y="411"/>
                    <a:pt x="568" y="410"/>
                    <a:pt x="567" y="408"/>
                  </a:cubicBezTo>
                  <a:cubicBezTo>
                    <a:pt x="567" y="408"/>
                    <a:pt x="566" y="405"/>
                    <a:pt x="566" y="404"/>
                  </a:cubicBezTo>
                  <a:cubicBezTo>
                    <a:pt x="565" y="399"/>
                    <a:pt x="563" y="396"/>
                    <a:pt x="561" y="395"/>
                  </a:cubicBezTo>
                  <a:cubicBezTo>
                    <a:pt x="560" y="394"/>
                    <a:pt x="560" y="394"/>
                    <a:pt x="559" y="394"/>
                  </a:cubicBezTo>
                  <a:cubicBezTo>
                    <a:pt x="556" y="394"/>
                    <a:pt x="553" y="395"/>
                    <a:pt x="550" y="397"/>
                  </a:cubicBezTo>
                  <a:cubicBezTo>
                    <a:pt x="547" y="397"/>
                    <a:pt x="544" y="398"/>
                    <a:pt x="542" y="399"/>
                  </a:cubicBezTo>
                  <a:cubicBezTo>
                    <a:pt x="537" y="400"/>
                    <a:pt x="533" y="401"/>
                    <a:pt x="529" y="403"/>
                  </a:cubicBezTo>
                  <a:cubicBezTo>
                    <a:pt x="528" y="404"/>
                    <a:pt x="527" y="405"/>
                    <a:pt x="526" y="405"/>
                  </a:cubicBezTo>
                  <a:cubicBezTo>
                    <a:pt x="526" y="405"/>
                    <a:pt x="526" y="405"/>
                    <a:pt x="526" y="405"/>
                  </a:cubicBezTo>
                  <a:cubicBezTo>
                    <a:pt x="523" y="407"/>
                    <a:pt x="521" y="408"/>
                    <a:pt x="518" y="408"/>
                  </a:cubicBezTo>
                  <a:cubicBezTo>
                    <a:pt x="516" y="408"/>
                    <a:pt x="514" y="407"/>
                    <a:pt x="511" y="406"/>
                  </a:cubicBezTo>
                  <a:cubicBezTo>
                    <a:pt x="508" y="405"/>
                    <a:pt x="506" y="403"/>
                    <a:pt x="504" y="401"/>
                  </a:cubicBezTo>
                  <a:cubicBezTo>
                    <a:pt x="500" y="398"/>
                    <a:pt x="496" y="395"/>
                    <a:pt x="492" y="395"/>
                  </a:cubicBezTo>
                  <a:cubicBezTo>
                    <a:pt x="491" y="395"/>
                    <a:pt x="491" y="395"/>
                    <a:pt x="491" y="395"/>
                  </a:cubicBezTo>
                  <a:cubicBezTo>
                    <a:pt x="487" y="395"/>
                    <a:pt x="481" y="397"/>
                    <a:pt x="476" y="398"/>
                  </a:cubicBezTo>
                  <a:cubicBezTo>
                    <a:pt x="473" y="398"/>
                    <a:pt x="470" y="399"/>
                    <a:pt x="468" y="399"/>
                  </a:cubicBezTo>
                  <a:cubicBezTo>
                    <a:pt x="466" y="400"/>
                    <a:pt x="464" y="400"/>
                    <a:pt x="462" y="400"/>
                  </a:cubicBezTo>
                  <a:cubicBezTo>
                    <a:pt x="451" y="400"/>
                    <a:pt x="447" y="394"/>
                    <a:pt x="441" y="386"/>
                  </a:cubicBezTo>
                  <a:cubicBezTo>
                    <a:pt x="440" y="385"/>
                    <a:pt x="440" y="385"/>
                    <a:pt x="440" y="385"/>
                  </a:cubicBezTo>
                  <a:cubicBezTo>
                    <a:pt x="439" y="383"/>
                    <a:pt x="438" y="382"/>
                    <a:pt x="436" y="380"/>
                  </a:cubicBezTo>
                  <a:cubicBezTo>
                    <a:pt x="434" y="377"/>
                    <a:pt x="432" y="375"/>
                    <a:pt x="430" y="373"/>
                  </a:cubicBezTo>
                  <a:cubicBezTo>
                    <a:pt x="427" y="371"/>
                    <a:pt x="425" y="369"/>
                    <a:pt x="423" y="366"/>
                  </a:cubicBezTo>
                  <a:cubicBezTo>
                    <a:pt x="422" y="365"/>
                    <a:pt x="421" y="364"/>
                    <a:pt x="420" y="363"/>
                  </a:cubicBezTo>
                  <a:cubicBezTo>
                    <a:pt x="415" y="355"/>
                    <a:pt x="411" y="351"/>
                    <a:pt x="410" y="340"/>
                  </a:cubicBezTo>
                  <a:cubicBezTo>
                    <a:pt x="410" y="336"/>
                    <a:pt x="410" y="332"/>
                    <a:pt x="409" y="328"/>
                  </a:cubicBezTo>
                  <a:cubicBezTo>
                    <a:pt x="409" y="327"/>
                    <a:pt x="408" y="325"/>
                    <a:pt x="408" y="324"/>
                  </a:cubicBezTo>
                  <a:cubicBezTo>
                    <a:pt x="401" y="278"/>
                    <a:pt x="395" y="232"/>
                    <a:pt x="390" y="194"/>
                  </a:cubicBezTo>
                  <a:cubicBezTo>
                    <a:pt x="384" y="194"/>
                    <a:pt x="384" y="194"/>
                    <a:pt x="384" y="194"/>
                  </a:cubicBezTo>
                  <a:cubicBezTo>
                    <a:pt x="384" y="194"/>
                    <a:pt x="384" y="194"/>
                    <a:pt x="384" y="194"/>
                  </a:cubicBezTo>
                  <a:cubicBezTo>
                    <a:pt x="384" y="195"/>
                    <a:pt x="384" y="195"/>
                    <a:pt x="384" y="196"/>
                  </a:cubicBezTo>
                  <a:cubicBezTo>
                    <a:pt x="384" y="197"/>
                    <a:pt x="384" y="197"/>
                    <a:pt x="384" y="197"/>
                  </a:cubicBezTo>
                  <a:cubicBezTo>
                    <a:pt x="384" y="198"/>
                    <a:pt x="383" y="200"/>
                    <a:pt x="383" y="201"/>
                  </a:cubicBezTo>
                  <a:cubicBezTo>
                    <a:pt x="382" y="200"/>
                    <a:pt x="382" y="200"/>
                    <a:pt x="381" y="199"/>
                  </a:cubicBezTo>
                  <a:cubicBezTo>
                    <a:pt x="380" y="199"/>
                    <a:pt x="380" y="198"/>
                    <a:pt x="380" y="198"/>
                  </a:cubicBezTo>
                  <a:cubicBezTo>
                    <a:pt x="377" y="196"/>
                    <a:pt x="374" y="195"/>
                    <a:pt x="371" y="195"/>
                  </a:cubicBezTo>
                  <a:cubicBezTo>
                    <a:pt x="369" y="195"/>
                    <a:pt x="368" y="195"/>
                    <a:pt x="366" y="196"/>
                  </a:cubicBezTo>
                  <a:cubicBezTo>
                    <a:pt x="366" y="195"/>
                    <a:pt x="366" y="195"/>
                    <a:pt x="366" y="195"/>
                  </a:cubicBezTo>
                  <a:cubicBezTo>
                    <a:pt x="367" y="192"/>
                    <a:pt x="367" y="189"/>
                    <a:pt x="364" y="185"/>
                  </a:cubicBezTo>
                  <a:cubicBezTo>
                    <a:pt x="362" y="181"/>
                    <a:pt x="358" y="178"/>
                    <a:pt x="354" y="176"/>
                  </a:cubicBezTo>
                  <a:cubicBezTo>
                    <a:pt x="350" y="173"/>
                    <a:pt x="345" y="170"/>
                    <a:pt x="341" y="168"/>
                  </a:cubicBezTo>
                  <a:cubicBezTo>
                    <a:pt x="340" y="167"/>
                    <a:pt x="340" y="167"/>
                    <a:pt x="340" y="167"/>
                  </a:cubicBezTo>
                  <a:cubicBezTo>
                    <a:pt x="339" y="167"/>
                    <a:pt x="338" y="166"/>
                    <a:pt x="337" y="166"/>
                  </a:cubicBezTo>
                  <a:cubicBezTo>
                    <a:pt x="337" y="166"/>
                    <a:pt x="336" y="166"/>
                    <a:pt x="336" y="166"/>
                  </a:cubicBezTo>
                  <a:cubicBezTo>
                    <a:pt x="336" y="166"/>
                    <a:pt x="337" y="165"/>
                    <a:pt x="337" y="165"/>
                  </a:cubicBezTo>
                  <a:cubicBezTo>
                    <a:pt x="339" y="158"/>
                    <a:pt x="332" y="153"/>
                    <a:pt x="327" y="149"/>
                  </a:cubicBezTo>
                  <a:cubicBezTo>
                    <a:pt x="326" y="148"/>
                    <a:pt x="325" y="148"/>
                    <a:pt x="325" y="147"/>
                  </a:cubicBezTo>
                  <a:cubicBezTo>
                    <a:pt x="324" y="146"/>
                    <a:pt x="322" y="145"/>
                    <a:pt x="321" y="144"/>
                  </a:cubicBezTo>
                  <a:cubicBezTo>
                    <a:pt x="320" y="144"/>
                    <a:pt x="320" y="144"/>
                    <a:pt x="320" y="144"/>
                  </a:cubicBezTo>
                  <a:cubicBezTo>
                    <a:pt x="320" y="143"/>
                    <a:pt x="319" y="143"/>
                    <a:pt x="318" y="142"/>
                  </a:cubicBezTo>
                  <a:cubicBezTo>
                    <a:pt x="318" y="142"/>
                    <a:pt x="317" y="142"/>
                    <a:pt x="317" y="141"/>
                  </a:cubicBezTo>
                  <a:cubicBezTo>
                    <a:pt x="317" y="141"/>
                    <a:pt x="317" y="140"/>
                    <a:pt x="316" y="140"/>
                  </a:cubicBezTo>
                  <a:cubicBezTo>
                    <a:pt x="316" y="138"/>
                    <a:pt x="316" y="138"/>
                    <a:pt x="316" y="138"/>
                  </a:cubicBezTo>
                  <a:cubicBezTo>
                    <a:pt x="316" y="136"/>
                    <a:pt x="316" y="135"/>
                    <a:pt x="316" y="133"/>
                  </a:cubicBezTo>
                  <a:cubicBezTo>
                    <a:pt x="316" y="133"/>
                    <a:pt x="316" y="133"/>
                    <a:pt x="316" y="132"/>
                  </a:cubicBezTo>
                  <a:cubicBezTo>
                    <a:pt x="316" y="131"/>
                    <a:pt x="317" y="131"/>
                    <a:pt x="317" y="130"/>
                  </a:cubicBezTo>
                  <a:cubicBezTo>
                    <a:pt x="318" y="127"/>
                    <a:pt x="318" y="123"/>
                    <a:pt x="317" y="120"/>
                  </a:cubicBezTo>
                  <a:cubicBezTo>
                    <a:pt x="317" y="120"/>
                    <a:pt x="316" y="119"/>
                    <a:pt x="316" y="119"/>
                  </a:cubicBezTo>
                  <a:cubicBezTo>
                    <a:pt x="316" y="118"/>
                    <a:pt x="316" y="118"/>
                    <a:pt x="316" y="118"/>
                  </a:cubicBezTo>
                  <a:cubicBezTo>
                    <a:pt x="315" y="117"/>
                    <a:pt x="315" y="116"/>
                    <a:pt x="315" y="115"/>
                  </a:cubicBezTo>
                  <a:cubicBezTo>
                    <a:pt x="315" y="115"/>
                    <a:pt x="315" y="115"/>
                    <a:pt x="315" y="115"/>
                  </a:cubicBezTo>
                  <a:cubicBezTo>
                    <a:pt x="315" y="113"/>
                    <a:pt x="315" y="111"/>
                    <a:pt x="315" y="109"/>
                  </a:cubicBezTo>
                  <a:cubicBezTo>
                    <a:pt x="315" y="108"/>
                    <a:pt x="315" y="106"/>
                    <a:pt x="315" y="104"/>
                  </a:cubicBezTo>
                  <a:cubicBezTo>
                    <a:pt x="315" y="102"/>
                    <a:pt x="315" y="100"/>
                    <a:pt x="314" y="98"/>
                  </a:cubicBezTo>
                  <a:cubicBezTo>
                    <a:pt x="313" y="96"/>
                    <a:pt x="311" y="95"/>
                    <a:pt x="310" y="95"/>
                  </a:cubicBezTo>
                  <a:cubicBezTo>
                    <a:pt x="309" y="95"/>
                    <a:pt x="309" y="95"/>
                    <a:pt x="309" y="95"/>
                  </a:cubicBezTo>
                  <a:cubicBezTo>
                    <a:pt x="307" y="94"/>
                    <a:pt x="307" y="89"/>
                    <a:pt x="307" y="87"/>
                  </a:cubicBezTo>
                  <a:cubicBezTo>
                    <a:pt x="307" y="85"/>
                    <a:pt x="307" y="84"/>
                    <a:pt x="307" y="84"/>
                  </a:cubicBezTo>
                  <a:cubicBezTo>
                    <a:pt x="307" y="82"/>
                    <a:pt x="308" y="79"/>
                    <a:pt x="308" y="77"/>
                  </a:cubicBezTo>
                  <a:cubicBezTo>
                    <a:pt x="309" y="76"/>
                    <a:pt x="309" y="74"/>
                    <a:pt x="309" y="73"/>
                  </a:cubicBezTo>
                  <a:cubicBezTo>
                    <a:pt x="310" y="70"/>
                    <a:pt x="309" y="68"/>
                    <a:pt x="309" y="67"/>
                  </a:cubicBezTo>
                  <a:cubicBezTo>
                    <a:pt x="308" y="66"/>
                    <a:pt x="308" y="65"/>
                    <a:pt x="308" y="64"/>
                  </a:cubicBezTo>
                  <a:cubicBezTo>
                    <a:pt x="308" y="64"/>
                    <a:pt x="308" y="64"/>
                    <a:pt x="308" y="64"/>
                  </a:cubicBezTo>
                  <a:cubicBezTo>
                    <a:pt x="308" y="62"/>
                    <a:pt x="307" y="59"/>
                    <a:pt x="305" y="57"/>
                  </a:cubicBezTo>
                  <a:cubicBezTo>
                    <a:pt x="302" y="55"/>
                    <a:pt x="299" y="54"/>
                    <a:pt x="296" y="54"/>
                  </a:cubicBezTo>
                  <a:cubicBezTo>
                    <a:pt x="295" y="54"/>
                    <a:pt x="294" y="54"/>
                    <a:pt x="292" y="55"/>
                  </a:cubicBezTo>
                  <a:cubicBezTo>
                    <a:pt x="292" y="55"/>
                    <a:pt x="291" y="55"/>
                    <a:pt x="291" y="55"/>
                  </a:cubicBezTo>
                  <a:cubicBezTo>
                    <a:pt x="289" y="55"/>
                    <a:pt x="288" y="55"/>
                    <a:pt x="287" y="54"/>
                  </a:cubicBezTo>
                  <a:cubicBezTo>
                    <a:pt x="286" y="54"/>
                    <a:pt x="286" y="54"/>
                    <a:pt x="285" y="54"/>
                  </a:cubicBezTo>
                  <a:cubicBezTo>
                    <a:pt x="284" y="54"/>
                    <a:pt x="283" y="54"/>
                    <a:pt x="282" y="54"/>
                  </a:cubicBezTo>
                  <a:cubicBezTo>
                    <a:pt x="281" y="54"/>
                    <a:pt x="280" y="54"/>
                    <a:pt x="279" y="54"/>
                  </a:cubicBezTo>
                  <a:cubicBezTo>
                    <a:pt x="278" y="54"/>
                    <a:pt x="276" y="54"/>
                    <a:pt x="276" y="54"/>
                  </a:cubicBezTo>
                  <a:cubicBezTo>
                    <a:pt x="275" y="54"/>
                    <a:pt x="275" y="54"/>
                    <a:pt x="275" y="53"/>
                  </a:cubicBezTo>
                  <a:cubicBezTo>
                    <a:pt x="274" y="53"/>
                    <a:pt x="273" y="52"/>
                    <a:pt x="272" y="52"/>
                  </a:cubicBezTo>
                  <a:cubicBezTo>
                    <a:pt x="271" y="51"/>
                    <a:pt x="270" y="51"/>
                    <a:pt x="269" y="51"/>
                  </a:cubicBezTo>
                  <a:cubicBezTo>
                    <a:pt x="267" y="51"/>
                    <a:pt x="266" y="51"/>
                    <a:pt x="265" y="52"/>
                  </a:cubicBezTo>
                  <a:cubicBezTo>
                    <a:pt x="262" y="52"/>
                    <a:pt x="259" y="53"/>
                    <a:pt x="256" y="54"/>
                  </a:cubicBezTo>
                  <a:cubicBezTo>
                    <a:pt x="254" y="55"/>
                    <a:pt x="252" y="55"/>
                    <a:pt x="250" y="56"/>
                  </a:cubicBezTo>
                  <a:cubicBezTo>
                    <a:pt x="249" y="56"/>
                    <a:pt x="247" y="56"/>
                    <a:pt x="246" y="56"/>
                  </a:cubicBezTo>
                  <a:cubicBezTo>
                    <a:pt x="246" y="56"/>
                    <a:pt x="246" y="56"/>
                    <a:pt x="246" y="56"/>
                  </a:cubicBezTo>
                  <a:cubicBezTo>
                    <a:pt x="246" y="56"/>
                    <a:pt x="246" y="56"/>
                    <a:pt x="246" y="56"/>
                  </a:cubicBezTo>
                  <a:cubicBezTo>
                    <a:pt x="245" y="56"/>
                    <a:pt x="245" y="56"/>
                    <a:pt x="245" y="56"/>
                  </a:cubicBezTo>
                  <a:cubicBezTo>
                    <a:pt x="245" y="55"/>
                    <a:pt x="244" y="54"/>
                    <a:pt x="243" y="53"/>
                  </a:cubicBezTo>
                  <a:cubicBezTo>
                    <a:pt x="242" y="53"/>
                    <a:pt x="241" y="52"/>
                    <a:pt x="239" y="52"/>
                  </a:cubicBezTo>
                  <a:cubicBezTo>
                    <a:pt x="239" y="51"/>
                    <a:pt x="239" y="51"/>
                    <a:pt x="238" y="51"/>
                  </a:cubicBezTo>
                  <a:cubicBezTo>
                    <a:pt x="238" y="51"/>
                    <a:pt x="238" y="51"/>
                    <a:pt x="237" y="51"/>
                  </a:cubicBezTo>
                  <a:cubicBezTo>
                    <a:pt x="237" y="51"/>
                    <a:pt x="237" y="51"/>
                    <a:pt x="237" y="51"/>
                  </a:cubicBezTo>
                  <a:cubicBezTo>
                    <a:pt x="237" y="50"/>
                    <a:pt x="237" y="48"/>
                    <a:pt x="235" y="46"/>
                  </a:cubicBezTo>
                  <a:cubicBezTo>
                    <a:pt x="233" y="45"/>
                    <a:pt x="230" y="43"/>
                    <a:pt x="227" y="42"/>
                  </a:cubicBezTo>
                  <a:cubicBezTo>
                    <a:pt x="227" y="42"/>
                    <a:pt x="226" y="42"/>
                    <a:pt x="226" y="42"/>
                  </a:cubicBezTo>
                  <a:cubicBezTo>
                    <a:pt x="225" y="41"/>
                    <a:pt x="225" y="41"/>
                    <a:pt x="224" y="41"/>
                  </a:cubicBezTo>
                  <a:cubicBezTo>
                    <a:pt x="224" y="41"/>
                    <a:pt x="224" y="41"/>
                    <a:pt x="224" y="41"/>
                  </a:cubicBezTo>
                  <a:cubicBezTo>
                    <a:pt x="223" y="40"/>
                    <a:pt x="222" y="39"/>
                    <a:pt x="221" y="39"/>
                  </a:cubicBezTo>
                  <a:cubicBezTo>
                    <a:pt x="217" y="38"/>
                    <a:pt x="213" y="37"/>
                    <a:pt x="209" y="36"/>
                  </a:cubicBezTo>
                  <a:cubicBezTo>
                    <a:pt x="208" y="36"/>
                    <a:pt x="208" y="36"/>
                    <a:pt x="208" y="36"/>
                  </a:cubicBezTo>
                  <a:cubicBezTo>
                    <a:pt x="207" y="35"/>
                    <a:pt x="207" y="35"/>
                    <a:pt x="207" y="35"/>
                  </a:cubicBezTo>
                  <a:cubicBezTo>
                    <a:pt x="205" y="34"/>
                    <a:pt x="204" y="33"/>
                    <a:pt x="201" y="32"/>
                  </a:cubicBezTo>
                  <a:cubicBezTo>
                    <a:pt x="200" y="31"/>
                    <a:pt x="199" y="31"/>
                    <a:pt x="198" y="31"/>
                  </a:cubicBezTo>
                  <a:cubicBezTo>
                    <a:pt x="197" y="31"/>
                    <a:pt x="196" y="31"/>
                    <a:pt x="196" y="31"/>
                  </a:cubicBezTo>
                  <a:cubicBezTo>
                    <a:pt x="195" y="31"/>
                    <a:pt x="194" y="31"/>
                    <a:pt x="193" y="30"/>
                  </a:cubicBezTo>
                  <a:cubicBezTo>
                    <a:pt x="192" y="30"/>
                    <a:pt x="192" y="29"/>
                    <a:pt x="191" y="29"/>
                  </a:cubicBezTo>
                  <a:cubicBezTo>
                    <a:pt x="190" y="29"/>
                    <a:pt x="190" y="29"/>
                    <a:pt x="190" y="29"/>
                  </a:cubicBezTo>
                  <a:cubicBezTo>
                    <a:pt x="190" y="28"/>
                    <a:pt x="187" y="27"/>
                    <a:pt x="187" y="26"/>
                  </a:cubicBezTo>
                  <a:cubicBezTo>
                    <a:pt x="186" y="24"/>
                    <a:pt x="185" y="22"/>
                    <a:pt x="184" y="19"/>
                  </a:cubicBezTo>
                  <a:cubicBezTo>
                    <a:pt x="182" y="17"/>
                    <a:pt x="180" y="15"/>
                    <a:pt x="177" y="13"/>
                  </a:cubicBezTo>
                  <a:cubicBezTo>
                    <a:pt x="177" y="13"/>
                    <a:pt x="176" y="12"/>
                    <a:pt x="175" y="12"/>
                  </a:cubicBezTo>
                  <a:cubicBezTo>
                    <a:pt x="174" y="12"/>
                    <a:pt x="173" y="11"/>
                    <a:pt x="172" y="11"/>
                  </a:cubicBezTo>
                  <a:cubicBezTo>
                    <a:pt x="172" y="10"/>
                    <a:pt x="171" y="9"/>
                    <a:pt x="170" y="8"/>
                  </a:cubicBezTo>
                  <a:cubicBezTo>
                    <a:pt x="169" y="7"/>
                    <a:pt x="167" y="6"/>
                    <a:pt x="166" y="5"/>
                  </a:cubicBezTo>
                  <a:cubicBezTo>
                    <a:pt x="165" y="4"/>
                    <a:pt x="163" y="2"/>
                    <a:pt x="161" y="1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37" y="23"/>
                    <a:pt x="37" y="133"/>
                    <a:pt x="12" y="151"/>
                  </a:cubicBezTo>
                  <a:cubicBezTo>
                    <a:pt x="11" y="152"/>
                    <a:pt x="11" y="152"/>
                    <a:pt x="11" y="152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3" y="289"/>
                    <a:pt x="3" y="289"/>
                    <a:pt x="3" y="289"/>
                  </a:cubicBezTo>
                  <a:cubicBezTo>
                    <a:pt x="4" y="289"/>
                    <a:pt x="4" y="289"/>
                    <a:pt x="5" y="289"/>
                  </a:cubicBezTo>
                  <a:cubicBezTo>
                    <a:pt x="5" y="289"/>
                    <a:pt x="6" y="289"/>
                    <a:pt x="6" y="292"/>
                  </a:cubicBezTo>
                  <a:cubicBezTo>
                    <a:pt x="6" y="292"/>
                    <a:pt x="6" y="293"/>
                    <a:pt x="6" y="293"/>
                  </a:cubicBezTo>
                  <a:cubicBezTo>
                    <a:pt x="6" y="295"/>
                    <a:pt x="6" y="296"/>
                    <a:pt x="6" y="297"/>
                  </a:cubicBezTo>
                  <a:cubicBezTo>
                    <a:pt x="7" y="298"/>
                    <a:pt x="7" y="300"/>
                    <a:pt x="7" y="301"/>
                  </a:cubicBezTo>
                  <a:cubicBezTo>
                    <a:pt x="7" y="307"/>
                    <a:pt x="7" y="315"/>
                    <a:pt x="15" y="319"/>
                  </a:cubicBezTo>
                  <a:cubicBezTo>
                    <a:pt x="22" y="322"/>
                    <a:pt x="30" y="324"/>
                    <a:pt x="38" y="324"/>
                  </a:cubicBezTo>
                  <a:cubicBezTo>
                    <a:pt x="38" y="324"/>
                    <a:pt x="39" y="324"/>
                    <a:pt x="40" y="324"/>
                  </a:cubicBezTo>
                  <a:cubicBezTo>
                    <a:pt x="42" y="324"/>
                    <a:pt x="45" y="323"/>
                    <a:pt x="47" y="322"/>
                  </a:cubicBezTo>
                  <a:cubicBezTo>
                    <a:pt x="49" y="321"/>
                    <a:pt x="50" y="320"/>
                    <a:pt x="52" y="320"/>
                  </a:cubicBezTo>
                  <a:cubicBezTo>
                    <a:pt x="53" y="320"/>
                    <a:pt x="54" y="320"/>
                    <a:pt x="54" y="321"/>
                  </a:cubicBezTo>
                  <a:cubicBezTo>
                    <a:pt x="57" y="322"/>
                    <a:pt x="62" y="327"/>
                    <a:pt x="64" y="331"/>
                  </a:cubicBezTo>
                  <a:cubicBezTo>
                    <a:pt x="64" y="331"/>
                    <a:pt x="64" y="331"/>
                    <a:pt x="64" y="331"/>
                  </a:cubicBezTo>
                  <a:cubicBezTo>
                    <a:pt x="64" y="333"/>
                    <a:pt x="65" y="335"/>
                    <a:pt x="69" y="337"/>
                  </a:cubicBezTo>
                  <a:cubicBezTo>
                    <a:pt x="69" y="337"/>
                    <a:pt x="70" y="337"/>
                    <a:pt x="70" y="337"/>
                  </a:cubicBezTo>
                  <a:cubicBezTo>
                    <a:pt x="72" y="337"/>
                    <a:pt x="73" y="337"/>
                    <a:pt x="74" y="336"/>
                  </a:cubicBezTo>
                  <a:cubicBezTo>
                    <a:pt x="75" y="336"/>
                    <a:pt x="76" y="335"/>
                    <a:pt x="77" y="335"/>
                  </a:cubicBezTo>
                  <a:cubicBezTo>
                    <a:pt x="78" y="336"/>
                    <a:pt x="80" y="337"/>
                    <a:pt x="82" y="340"/>
                  </a:cubicBezTo>
                  <a:cubicBezTo>
                    <a:pt x="83" y="342"/>
                    <a:pt x="85" y="344"/>
                    <a:pt x="87" y="346"/>
                  </a:cubicBezTo>
                  <a:cubicBezTo>
                    <a:pt x="89" y="347"/>
                    <a:pt x="91" y="348"/>
                    <a:pt x="93" y="348"/>
                  </a:cubicBezTo>
                  <a:cubicBezTo>
                    <a:pt x="98" y="348"/>
                    <a:pt x="101" y="345"/>
                    <a:pt x="104" y="343"/>
                  </a:cubicBezTo>
                  <a:cubicBezTo>
                    <a:pt x="107" y="342"/>
                    <a:pt x="108" y="341"/>
                    <a:pt x="110" y="341"/>
                  </a:cubicBezTo>
                  <a:cubicBezTo>
                    <a:pt x="111" y="341"/>
                    <a:pt x="113" y="342"/>
                    <a:pt x="115" y="342"/>
                  </a:cubicBezTo>
                  <a:cubicBezTo>
                    <a:pt x="116" y="343"/>
                    <a:pt x="118" y="344"/>
                    <a:pt x="121" y="345"/>
                  </a:cubicBezTo>
                  <a:cubicBezTo>
                    <a:pt x="127" y="348"/>
                    <a:pt x="136" y="352"/>
                    <a:pt x="142" y="352"/>
                  </a:cubicBezTo>
                  <a:cubicBezTo>
                    <a:pt x="148" y="352"/>
                    <a:pt x="150" y="349"/>
                    <a:pt x="152" y="347"/>
                  </a:cubicBezTo>
                  <a:cubicBezTo>
                    <a:pt x="153" y="345"/>
                    <a:pt x="154" y="342"/>
                    <a:pt x="154" y="339"/>
                  </a:cubicBezTo>
                  <a:cubicBezTo>
                    <a:pt x="155" y="336"/>
                    <a:pt x="155" y="334"/>
                    <a:pt x="157" y="333"/>
                  </a:cubicBezTo>
                  <a:cubicBezTo>
                    <a:pt x="158" y="333"/>
                    <a:pt x="159" y="332"/>
                    <a:pt x="160" y="332"/>
                  </a:cubicBezTo>
                  <a:cubicBezTo>
                    <a:pt x="161" y="331"/>
                    <a:pt x="163" y="330"/>
                    <a:pt x="165" y="329"/>
                  </a:cubicBezTo>
                  <a:cubicBezTo>
                    <a:pt x="166" y="328"/>
                    <a:pt x="166" y="328"/>
                    <a:pt x="166" y="328"/>
                  </a:cubicBezTo>
                  <a:cubicBezTo>
                    <a:pt x="168" y="326"/>
                    <a:pt x="170" y="324"/>
                    <a:pt x="172" y="322"/>
                  </a:cubicBezTo>
                  <a:cubicBezTo>
                    <a:pt x="173" y="321"/>
                    <a:pt x="173" y="319"/>
                    <a:pt x="174" y="318"/>
                  </a:cubicBezTo>
                  <a:cubicBezTo>
                    <a:pt x="177" y="313"/>
                    <a:pt x="179" y="310"/>
                    <a:pt x="182" y="310"/>
                  </a:cubicBezTo>
                  <a:cubicBezTo>
                    <a:pt x="183" y="310"/>
                    <a:pt x="184" y="311"/>
                    <a:pt x="186" y="311"/>
                  </a:cubicBezTo>
                  <a:cubicBezTo>
                    <a:pt x="187" y="312"/>
                    <a:pt x="188" y="313"/>
                    <a:pt x="189" y="313"/>
                  </a:cubicBezTo>
                  <a:cubicBezTo>
                    <a:pt x="193" y="314"/>
                    <a:pt x="197" y="315"/>
                    <a:pt x="201" y="316"/>
                  </a:cubicBezTo>
                  <a:cubicBezTo>
                    <a:pt x="202" y="316"/>
                    <a:pt x="202" y="316"/>
                    <a:pt x="202" y="316"/>
                  </a:cubicBezTo>
                  <a:cubicBezTo>
                    <a:pt x="204" y="316"/>
                    <a:pt x="206" y="316"/>
                    <a:pt x="208" y="316"/>
                  </a:cubicBezTo>
                  <a:cubicBezTo>
                    <a:pt x="209" y="316"/>
                    <a:pt x="210" y="316"/>
                    <a:pt x="212" y="316"/>
                  </a:cubicBezTo>
                  <a:cubicBezTo>
                    <a:pt x="213" y="316"/>
                    <a:pt x="214" y="316"/>
                    <a:pt x="215" y="316"/>
                  </a:cubicBezTo>
                  <a:cubicBezTo>
                    <a:pt x="216" y="316"/>
                    <a:pt x="218" y="316"/>
                    <a:pt x="219" y="316"/>
                  </a:cubicBezTo>
                  <a:cubicBezTo>
                    <a:pt x="223" y="317"/>
                    <a:pt x="224" y="319"/>
                    <a:pt x="227" y="325"/>
                  </a:cubicBezTo>
                  <a:cubicBezTo>
                    <a:pt x="227" y="325"/>
                    <a:pt x="227" y="325"/>
                    <a:pt x="227" y="325"/>
                  </a:cubicBezTo>
                  <a:cubicBezTo>
                    <a:pt x="227" y="326"/>
                    <a:pt x="227" y="327"/>
                    <a:pt x="227" y="328"/>
                  </a:cubicBezTo>
                  <a:cubicBezTo>
                    <a:pt x="228" y="329"/>
                    <a:pt x="228" y="330"/>
                    <a:pt x="228" y="332"/>
                  </a:cubicBezTo>
                  <a:cubicBezTo>
                    <a:pt x="229" y="333"/>
                    <a:pt x="230" y="334"/>
                    <a:pt x="231" y="336"/>
                  </a:cubicBezTo>
                  <a:cubicBezTo>
                    <a:pt x="231" y="336"/>
                    <a:pt x="232" y="337"/>
                    <a:pt x="232" y="337"/>
                  </a:cubicBezTo>
                  <a:cubicBezTo>
                    <a:pt x="235" y="341"/>
                    <a:pt x="238" y="346"/>
                    <a:pt x="243" y="348"/>
                  </a:cubicBezTo>
                  <a:cubicBezTo>
                    <a:pt x="245" y="349"/>
                    <a:pt x="247" y="349"/>
                    <a:pt x="250" y="349"/>
                  </a:cubicBezTo>
                  <a:cubicBezTo>
                    <a:pt x="252" y="349"/>
                    <a:pt x="254" y="349"/>
                    <a:pt x="257" y="348"/>
                  </a:cubicBezTo>
                  <a:cubicBezTo>
                    <a:pt x="258" y="348"/>
                    <a:pt x="258" y="348"/>
                    <a:pt x="259" y="347"/>
                  </a:cubicBezTo>
                  <a:cubicBezTo>
                    <a:pt x="261" y="346"/>
                    <a:pt x="264" y="345"/>
                    <a:pt x="265" y="345"/>
                  </a:cubicBezTo>
                  <a:cubicBezTo>
                    <a:pt x="265" y="345"/>
                    <a:pt x="266" y="345"/>
                    <a:pt x="266" y="346"/>
                  </a:cubicBezTo>
                  <a:cubicBezTo>
                    <a:pt x="266" y="346"/>
                    <a:pt x="266" y="346"/>
                    <a:pt x="266" y="346"/>
                  </a:cubicBezTo>
                  <a:cubicBezTo>
                    <a:pt x="265" y="347"/>
                    <a:pt x="265" y="347"/>
                    <a:pt x="265" y="348"/>
                  </a:cubicBezTo>
                  <a:cubicBezTo>
                    <a:pt x="263" y="353"/>
                    <a:pt x="264" y="358"/>
                    <a:pt x="266" y="363"/>
                  </a:cubicBezTo>
                  <a:cubicBezTo>
                    <a:pt x="267" y="366"/>
                    <a:pt x="270" y="367"/>
                    <a:pt x="272" y="368"/>
                  </a:cubicBezTo>
                  <a:cubicBezTo>
                    <a:pt x="274" y="369"/>
                    <a:pt x="275" y="369"/>
                    <a:pt x="275" y="370"/>
                  </a:cubicBezTo>
                  <a:cubicBezTo>
                    <a:pt x="275" y="371"/>
                    <a:pt x="275" y="371"/>
                    <a:pt x="274" y="373"/>
                  </a:cubicBezTo>
                  <a:cubicBezTo>
                    <a:pt x="272" y="375"/>
                    <a:pt x="270" y="378"/>
                    <a:pt x="272" y="382"/>
                  </a:cubicBezTo>
                  <a:cubicBezTo>
                    <a:pt x="273" y="386"/>
                    <a:pt x="277" y="386"/>
                    <a:pt x="279" y="387"/>
                  </a:cubicBezTo>
                  <a:cubicBezTo>
                    <a:pt x="280" y="387"/>
                    <a:pt x="282" y="387"/>
                    <a:pt x="282" y="387"/>
                  </a:cubicBezTo>
                  <a:cubicBezTo>
                    <a:pt x="282" y="387"/>
                    <a:pt x="282" y="388"/>
                    <a:pt x="282" y="389"/>
                  </a:cubicBezTo>
                  <a:cubicBezTo>
                    <a:pt x="282" y="390"/>
                    <a:pt x="281" y="391"/>
                    <a:pt x="281" y="392"/>
                  </a:cubicBezTo>
                  <a:cubicBezTo>
                    <a:pt x="282" y="398"/>
                    <a:pt x="285" y="403"/>
                    <a:pt x="292" y="406"/>
                  </a:cubicBezTo>
                  <a:cubicBezTo>
                    <a:pt x="302" y="410"/>
                    <a:pt x="312" y="411"/>
                    <a:pt x="322" y="413"/>
                  </a:cubicBezTo>
                  <a:cubicBezTo>
                    <a:pt x="325" y="413"/>
                    <a:pt x="325" y="413"/>
                    <a:pt x="325" y="413"/>
                  </a:cubicBezTo>
                  <a:cubicBezTo>
                    <a:pt x="325" y="413"/>
                    <a:pt x="326" y="413"/>
                    <a:pt x="327" y="413"/>
                  </a:cubicBezTo>
                  <a:cubicBezTo>
                    <a:pt x="331" y="413"/>
                    <a:pt x="335" y="412"/>
                    <a:pt x="339" y="411"/>
                  </a:cubicBezTo>
                  <a:cubicBezTo>
                    <a:pt x="342" y="409"/>
                    <a:pt x="345" y="408"/>
                    <a:pt x="348" y="408"/>
                  </a:cubicBezTo>
                  <a:cubicBezTo>
                    <a:pt x="349" y="408"/>
                    <a:pt x="349" y="408"/>
                    <a:pt x="350" y="408"/>
                  </a:cubicBezTo>
                  <a:cubicBezTo>
                    <a:pt x="355" y="409"/>
                    <a:pt x="361" y="411"/>
                    <a:pt x="366" y="413"/>
                  </a:cubicBezTo>
                  <a:cubicBezTo>
                    <a:pt x="372" y="416"/>
                    <a:pt x="378" y="418"/>
                    <a:pt x="385" y="418"/>
                  </a:cubicBezTo>
                  <a:cubicBezTo>
                    <a:pt x="385" y="418"/>
                    <a:pt x="386" y="418"/>
                    <a:pt x="387" y="418"/>
                  </a:cubicBezTo>
                  <a:cubicBezTo>
                    <a:pt x="388" y="418"/>
                    <a:pt x="389" y="417"/>
                    <a:pt x="390" y="417"/>
                  </a:cubicBezTo>
                  <a:cubicBezTo>
                    <a:pt x="391" y="417"/>
                    <a:pt x="391" y="417"/>
                    <a:pt x="391" y="417"/>
                  </a:cubicBezTo>
                  <a:cubicBezTo>
                    <a:pt x="391" y="417"/>
                    <a:pt x="391" y="417"/>
                    <a:pt x="392" y="417"/>
                  </a:cubicBezTo>
                  <a:cubicBezTo>
                    <a:pt x="392" y="418"/>
                    <a:pt x="393" y="419"/>
                    <a:pt x="393" y="421"/>
                  </a:cubicBezTo>
                  <a:cubicBezTo>
                    <a:pt x="393" y="422"/>
                    <a:pt x="393" y="425"/>
                    <a:pt x="394" y="426"/>
                  </a:cubicBezTo>
                  <a:cubicBezTo>
                    <a:pt x="396" y="428"/>
                    <a:pt x="399" y="433"/>
                    <a:pt x="403" y="435"/>
                  </a:cubicBezTo>
                  <a:cubicBezTo>
                    <a:pt x="405" y="436"/>
                    <a:pt x="406" y="437"/>
                    <a:pt x="408" y="437"/>
                  </a:cubicBezTo>
                  <a:cubicBezTo>
                    <a:pt x="410" y="437"/>
                    <a:pt x="411" y="438"/>
                    <a:pt x="412" y="439"/>
                  </a:cubicBezTo>
                  <a:cubicBezTo>
                    <a:pt x="414" y="441"/>
                    <a:pt x="416" y="445"/>
                    <a:pt x="415" y="448"/>
                  </a:cubicBezTo>
                  <a:cubicBezTo>
                    <a:pt x="415" y="448"/>
                    <a:pt x="415" y="448"/>
                    <a:pt x="415" y="448"/>
                  </a:cubicBezTo>
                  <a:cubicBezTo>
                    <a:pt x="414" y="448"/>
                    <a:pt x="411" y="449"/>
                    <a:pt x="410" y="452"/>
                  </a:cubicBezTo>
                  <a:cubicBezTo>
                    <a:pt x="409" y="455"/>
                    <a:pt x="411" y="457"/>
                    <a:pt x="413" y="458"/>
                  </a:cubicBezTo>
                  <a:cubicBezTo>
                    <a:pt x="413" y="458"/>
                    <a:pt x="413" y="459"/>
                    <a:pt x="413" y="459"/>
                  </a:cubicBezTo>
                  <a:cubicBezTo>
                    <a:pt x="413" y="459"/>
                    <a:pt x="414" y="460"/>
                    <a:pt x="414" y="460"/>
                  </a:cubicBezTo>
                  <a:cubicBezTo>
                    <a:pt x="414" y="460"/>
                    <a:pt x="414" y="461"/>
                    <a:pt x="414" y="461"/>
                  </a:cubicBezTo>
                  <a:cubicBezTo>
                    <a:pt x="414" y="461"/>
                    <a:pt x="414" y="461"/>
                    <a:pt x="414" y="462"/>
                  </a:cubicBezTo>
                  <a:cubicBezTo>
                    <a:pt x="414" y="464"/>
                    <a:pt x="414" y="464"/>
                    <a:pt x="413" y="464"/>
                  </a:cubicBezTo>
                  <a:cubicBezTo>
                    <a:pt x="412" y="464"/>
                    <a:pt x="409" y="462"/>
                    <a:pt x="407" y="461"/>
                  </a:cubicBezTo>
                  <a:cubicBezTo>
                    <a:pt x="404" y="460"/>
                    <a:pt x="401" y="458"/>
                    <a:pt x="398" y="458"/>
                  </a:cubicBezTo>
                  <a:cubicBezTo>
                    <a:pt x="396" y="458"/>
                    <a:pt x="396" y="458"/>
                    <a:pt x="396" y="458"/>
                  </a:cubicBezTo>
                  <a:cubicBezTo>
                    <a:pt x="394" y="458"/>
                    <a:pt x="393" y="458"/>
                    <a:pt x="393" y="457"/>
                  </a:cubicBezTo>
                  <a:cubicBezTo>
                    <a:pt x="392" y="456"/>
                    <a:pt x="391" y="455"/>
                    <a:pt x="391" y="454"/>
                  </a:cubicBezTo>
                  <a:cubicBezTo>
                    <a:pt x="390" y="452"/>
                    <a:pt x="388" y="450"/>
                    <a:pt x="386" y="448"/>
                  </a:cubicBezTo>
                  <a:cubicBezTo>
                    <a:pt x="385" y="448"/>
                    <a:pt x="385" y="447"/>
                    <a:pt x="384" y="447"/>
                  </a:cubicBezTo>
                  <a:cubicBezTo>
                    <a:pt x="383" y="446"/>
                    <a:pt x="383" y="446"/>
                    <a:pt x="383" y="445"/>
                  </a:cubicBezTo>
                  <a:cubicBezTo>
                    <a:pt x="382" y="445"/>
                    <a:pt x="382" y="445"/>
                    <a:pt x="382" y="444"/>
                  </a:cubicBezTo>
                  <a:cubicBezTo>
                    <a:pt x="382" y="443"/>
                    <a:pt x="382" y="442"/>
                    <a:pt x="381" y="440"/>
                  </a:cubicBezTo>
                  <a:cubicBezTo>
                    <a:pt x="380" y="438"/>
                    <a:pt x="377" y="437"/>
                    <a:pt x="374" y="437"/>
                  </a:cubicBezTo>
                  <a:cubicBezTo>
                    <a:pt x="371" y="437"/>
                    <a:pt x="367" y="438"/>
                    <a:pt x="365" y="441"/>
                  </a:cubicBezTo>
                  <a:cubicBezTo>
                    <a:pt x="364" y="443"/>
                    <a:pt x="364" y="445"/>
                    <a:pt x="364" y="447"/>
                  </a:cubicBezTo>
                  <a:cubicBezTo>
                    <a:pt x="365" y="450"/>
                    <a:pt x="368" y="451"/>
                    <a:pt x="370" y="452"/>
                  </a:cubicBezTo>
                  <a:cubicBezTo>
                    <a:pt x="371" y="453"/>
                    <a:pt x="372" y="454"/>
                    <a:pt x="372" y="454"/>
                  </a:cubicBezTo>
                  <a:cubicBezTo>
                    <a:pt x="375" y="457"/>
                    <a:pt x="380" y="464"/>
                    <a:pt x="376" y="468"/>
                  </a:cubicBezTo>
                  <a:cubicBezTo>
                    <a:pt x="376" y="469"/>
                    <a:pt x="375" y="470"/>
                    <a:pt x="374" y="471"/>
                  </a:cubicBezTo>
                  <a:cubicBezTo>
                    <a:pt x="371" y="473"/>
                    <a:pt x="368" y="475"/>
                    <a:pt x="368" y="479"/>
                  </a:cubicBezTo>
                  <a:cubicBezTo>
                    <a:pt x="367" y="481"/>
                    <a:pt x="368" y="483"/>
                    <a:pt x="368" y="485"/>
                  </a:cubicBezTo>
                  <a:cubicBezTo>
                    <a:pt x="368" y="485"/>
                    <a:pt x="369" y="486"/>
                    <a:pt x="369" y="486"/>
                  </a:cubicBezTo>
                  <a:cubicBezTo>
                    <a:pt x="369" y="488"/>
                    <a:pt x="369" y="490"/>
                    <a:pt x="370" y="491"/>
                  </a:cubicBezTo>
                  <a:cubicBezTo>
                    <a:pt x="370" y="492"/>
                    <a:pt x="370" y="494"/>
                    <a:pt x="370" y="495"/>
                  </a:cubicBezTo>
                  <a:cubicBezTo>
                    <a:pt x="371" y="498"/>
                    <a:pt x="371" y="502"/>
                    <a:pt x="371" y="506"/>
                  </a:cubicBezTo>
                  <a:cubicBezTo>
                    <a:pt x="371" y="508"/>
                    <a:pt x="371" y="508"/>
                    <a:pt x="371" y="508"/>
                  </a:cubicBezTo>
                  <a:cubicBezTo>
                    <a:pt x="372" y="513"/>
                    <a:pt x="370" y="519"/>
                    <a:pt x="367" y="524"/>
                  </a:cubicBezTo>
                  <a:cubicBezTo>
                    <a:pt x="366" y="525"/>
                    <a:pt x="365" y="528"/>
                    <a:pt x="364" y="529"/>
                  </a:cubicBezTo>
                  <a:cubicBezTo>
                    <a:pt x="362" y="529"/>
                    <a:pt x="361" y="530"/>
                    <a:pt x="360" y="530"/>
                  </a:cubicBezTo>
                  <a:cubicBezTo>
                    <a:pt x="357" y="531"/>
                    <a:pt x="354" y="532"/>
                    <a:pt x="351" y="536"/>
                  </a:cubicBezTo>
                  <a:cubicBezTo>
                    <a:pt x="349" y="540"/>
                    <a:pt x="345" y="548"/>
                    <a:pt x="349" y="553"/>
                  </a:cubicBezTo>
                  <a:cubicBezTo>
                    <a:pt x="351" y="554"/>
                    <a:pt x="352" y="555"/>
                    <a:pt x="354" y="555"/>
                  </a:cubicBezTo>
                  <a:cubicBezTo>
                    <a:pt x="356" y="555"/>
                    <a:pt x="358" y="554"/>
                    <a:pt x="360" y="553"/>
                  </a:cubicBezTo>
                  <a:cubicBezTo>
                    <a:pt x="361" y="552"/>
                    <a:pt x="363" y="551"/>
                    <a:pt x="363" y="551"/>
                  </a:cubicBezTo>
                  <a:cubicBezTo>
                    <a:pt x="363" y="551"/>
                    <a:pt x="363" y="551"/>
                    <a:pt x="363" y="551"/>
                  </a:cubicBezTo>
                  <a:cubicBezTo>
                    <a:pt x="363" y="554"/>
                    <a:pt x="356" y="560"/>
                    <a:pt x="354" y="561"/>
                  </a:cubicBezTo>
                  <a:cubicBezTo>
                    <a:pt x="353" y="561"/>
                    <a:pt x="352" y="561"/>
                    <a:pt x="351" y="561"/>
                  </a:cubicBezTo>
                  <a:cubicBezTo>
                    <a:pt x="349" y="562"/>
                    <a:pt x="346" y="562"/>
                    <a:pt x="344" y="564"/>
                  </a:cubicBezTo>
                  <a:cubicBezTo>
                    <a:pt x="340" y="567"/>
                    <a:pt x="338" y="573"/>
                    <a:pt x="340" y="577"/>
                  </a:cubicBezTo>
                  <a:cubicBezTo>
                    <a:pt x="341" y="580"/>
                    <a:pt x="343" y="581"/>
                    <a:pt x="347" y="581"/>
                  </a:cubicBezTo>
                  <a:cubicBezTo>
                    <a:pt x="348" y="581"/>
                    <a:pt x="349" y="581"/>
                    <a:pt x="350" y="581"/>
                  </a:cubicBezTo>
                  <a:cubicBezTo>
                    <a:pt x="357" y="579"/>
                    <a:pt x="366" y="574"/>
                    <a:pt x="373" y="568"/>
                  </a:cubicBezTo>
                  <a:cubicBezTo>
                    <a:pt x="374" y="566"/>
                    <a:pt x="376" y="564"/>
                    <a:pt x="378" y="563"/>
                  </a:cubicBezTo>
                  <a:cubicBezTo>
                    <a:pt x="381" y="560"/>
                    <a:pt x="383" y="557"/>
                    <a:pt x="386" y="555"/>
                  </a:cubicBezTo>
                  <a:cubicBezTo>
                    <a:pt x="387" y="553"/>
                    <a:pt x="389" y="552"/>
                    <a:pt x="390" y="550"/>
                  </a:cubicBezTo>
                  <a:cubicBezTo>
                    <a:pt x="393" y="547"/>
                    <a:pt x="395" y="545"/>
                    <a:pt x="399" y="544"/>
                  </a:cubicBezTo>
                  <a:cubicBezTo>
                    <a:pt x="399" y="543"/>
                    <a:pt x="400" y="543"/>
                    <a:pt x="401" y="543"/>
                  </a:cubicBezTo>
                  <a:cubicBezTo>
                    <a:pt x="402" y="543"/>
                    <a:pt x="403" y="544"/>
                    <a:pt x="405" y="545"/>
                  </a:cubicBezTo>
                  <a:cubicBezTo>
                    <a:pt x="406" y="546"/>
                    <a:pt x="407" y="547"/>
                    <a:pt x="409" y="547"/>
                  </a:cubicBezTo>
                  <a:cubicBezTo>
                    <a:pt x="410" y="548"/>
                    <a:pt x="411" y="548"/>
                    <a:pt x="412" y="548"/>
                  </a:cubicBezTo>
                  <a:cubicBezTo>
                    <a:pt x="416" y="548"/>
                    <a:pt x="419" y="545"/>
                    <a:pt x="421" y="543"/>
                  </a:cubicBezTo>
                  <a:cubicBezTo>
                    <a:pt x="422" y="542"/>
                    <a:pt x="423" y="541"/>
                    <a:pt x="423" y="541"/>
                  </a:cubicBezTo>
                  <a:cubicBezTo>
                    <a:pt x="425" y="539"/>
                    <a:pt x="428" y="538"/>
                    <a:pt x="431" y="538"/>
                  </a:cubicBezTo>
                  <a:cubicBezTo>
                    <a:pt x="433" y="537"/>
                    <a:pt x="436" y="536"/>
                    <a:pt x="439" y="535"/>
                  </a:cubicBezTo>
                  <a:cubicBezTo>
                    <a:pt x="440" y="534"/>
                    <a:pt x="442" y="533"/>
                    <a:pt x="444" y="533"/>
                  </a:cubicBezTo>
                  <a:cubicBezTo>
                    <a:pt x="448" y="531"/>
                    <a:pt x="453" y="530"/>
                    <a:pt x="456" y="526"/>
                  </a:cubicBezTo>
                  <a:cubicBezTo>
                    <a:pt x="457" y="524"/>
                    <a:pt x="458" y="523"/>
                    <a:pt x="458" y="522"/>
                  </a:cubicBezTo>
                  <a:cubicBezTo>
                    <a:pt x="458" y="522"/>
                    <a:pt x="458" y="521"/>
                    <a:pt x="458" y="521"/>
                  </a:cubicBezTo>
                  <a:cubicBezTo>
                    <a:pt x="458" y="518"/>
                    <a:pt x="459" y="515"/>
                    <a:pt x="457" y="512"/>
                  </a:cubicBezTo>
                  <a:cubicBezTo>
                    <a:pt x="456" y="511"/>
                    <a:pt x="454" y="510"/>
                    <a:pt x="452" y="510"/>
                  </a:cubicBezTo>
                  <a:cubicBezTo>
                    <a:pt x="450" y="510"/>
                    <a:pt x="448" y="510"/>
                    <a:pt x="446" y="511"/>
                  </a:cubicBezTo>
                  <a:cubicBezTo>
                    <a:pt x="444" y="511"/>
                    <a:pt x="442" y="511"/>
                    <a:pt x="440" y="511"/>
                  </a:cubicBezTo>
                  <a:cubicBezTo>
                    <a:pt x="438" y="511"/>
                    <a:pt x="437" y="511"/>
                    <a:pt x="437" y="510"/>
                  </a:cubicBezTo>
                  <a:cubicBezTo>
                    <a:pt x="435" y="508"/>
                    <a:pt x="437" y="506"/>
                    <a:pt x="441" y="502"/>
                  </a:cubicBezTo>
                  <a:cubicBezTo>
                    <a:pt x="442" y="501"/>
                    <a:pt x="442" y="500"/>
                    <a:pt x="443" y="500"/>
                  </a:cubicBezTo>
                  <a:cubicBezTo>
                    <a:pt x="450" y="492"/>
                    <a:pt x="455" y="488"/>
                    <a:pt x="464" y="485"/>
                  </a:cubicBezTo>
                  <a:cubicBezTo>
                    <a:pt x="466" y="484"/>
                    <a:pt x="469" y="482"/>
                    <a:pt x="472" y="481"/>
                  </a:cubicBezTo>
                  <a:cubicBezTo>
                    <a:pt x="476" y="478"/>
                    <a:pt x="481" y="475"/>
                    <a:pt x="485" y="475"/>
                  </a:cubicBezTo>
                  <a:cubicBezTo>
                    <a:pt x="487" y="475"/>
                    <a:pt x="490" y="476"/>
                    <a:pt x="492" y="477"/>
                  </a:cubicBezTo>
                  <a:cubicBezTo>
                    <a:pt x="495" y="479"/>
                    <a:pt x="499" y="480"/>
                    <a:pt x="502" y="480"/>
                  </a:cubicBezTo>
                  <a:cubicBezTo>
                    <a:pt x="505" y="480"/>
                    <a:pt x="507" y="479"/>
                    <a:pt x="509" y="477"/>
                  </a:cubicBezTo>
                  <a:cubicBezTo>
                    <a:pt x="513" y="475"/>
                    <a:pt x="513" y="472"/>
                    <a:pt x="513" y="469"/>
                  </a:cubicBezTo>
                  <a:cubicBezTo>
                    <a:pt x="514" y="468"/>
                    <a:pt x="514" y="466"/>
                    <a:pt x="515" y="465"/>
                  </a:cubicBezTo>
                  <a:cubicBezTo>
                    <a:pt x="516" y="463"/>
                    <a:pt x="519" y="461"/>
                    <a:pt x="521" y="460"/>
                  </a:cubicBezTo>
                  <a:cubicBezTo>
                    <a:pt x="524" y="458"/>
                    <a:pt x="527" y="456"/>
                    <a:pt x="529" y="454"/>
                  </a:cubicBezTo>
                  <a:cubicBezTo>
                    <a:pt x="531" y="451"/>
                    <a:pt x="534" y="448"/>
                    <a:pt x="536" y="445"/>
                  </a:cubicBezTo>
                  <a:cubicBezTo>
                    <a:pt x="537" y="443"/>
                    <a:pt x="539" y="441"/>
                    <a:pt x="540" y="439"/>
                  </a:cubicBezTo>
                  <a:cubicBezTo>
                    <a:pt x="548" y="429"/>
                    <a:pt x="556" y="420"/>
                    <a:pt x="567" y="417"/>
                  </a:cubicBezTo>
                  <a:cubicBezTo>
                    <a:pt x="570" y="416"/>
                    <a:pt x="570" y="416"/>
                    <a:pt x="570" y="416"/>
                  </a:cubicBezTo>
                  <a:lnTo>
                    <a:pt x="569" y="413"/>
                  </a:ln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8" name="Freeform 67"/>
            <p:cNvSpPr>
              <a:spLocks/>
            </p:cNvSpPr>
            <p:nvPr/>
          </p:nvSpPr>
          <p:spPr bwMode="auto">
            <a:xfrm>
              <a:off x="19203570" y="6084404"/>
              <a:ext cx="3061210" cy="3318761"/>
            </a:xfrm>
            <a:custGeom>
              <a:avLst/>
              <a:gdLst>
                <a:gd name="T0" fmla="*/ 399 w 562"/>
                <a:gd name="T1" fmla="*/ 295 h 669"/>
                <a:gd name="T2" fmla="*/ 394 w 562"/>
                <a:gd name="T3" fmla="*/ 338 h 669"/>
                <a:gd name="T4" fmla="*/ 350 w 562"/>
                <a:gd name="T5" fmla="*/ 333 h 669"/>
                <a:gd name="T6" fmla="*/ 329 w 562"/>
                <a:gd name="T7" fmla="*/ 314 h 669"/>
                <a:gd name="T8" fmla="*/ 298 w 562"/>
                <a:gd name="T9" fmla="*/ 289 h 669"/>
                <a:gd name="T10" fmla="*/ 293 w 562"/>
                <a:gd name="T11" fmla="*/ 248 h 669"/>
                <a:gd name="T12" fmla="*/ 298 w 562"/>
                <a:gd name="T13" fmla="*/ 228 h 669"/>
                <a:gd name="T14" fmla="*/ 367 w 562"/>
                <a:gd name="T15" fmla="*/ 209 h 669"/>
                <a:gd name="T16" fmla="*/ 329 w 562"/>
                <a:gd name="T17" fmla="*/ 167 h 669"/>
                <a:gd name="T18" fmla="*/ 295 w 562"/>
                <a:gd name="T19" fmla="*/ 75 h 669"/>
                <a:gd name="T20" fmla="*/ 276 w 562"/>
                <a:gd name="T21" fmla="*/ 60 h 669"/>
                <a:gd name="T22" fmla="*/ 257 w 562"/>
                <a:gd name="T23" fmla="*/ 33 h 669"/>
                <a:gd name="T24" fmla="*/ 259 w 562"/>
                <a:gd name="T25" fmla="*/ 65 h 669"/>
                <a:gd name="T26" fmla="*/ 257 w 562"/>
                <a:gd name="T27" fmla="*/ 90 h 669"/>
                <a:gd name="T28" fmla="*/ 247 w 562"/>
                <a:gd name="T29" fmla="*/ 109 h 669"/>
                <a:gd name="T30" fmla="*/ 227 w 562"/>
                <a:gd name="T31" fmla="*/ 113 h 669"/>
                <a:gd name="T32" fmla="*/ 200 w 562"/>
                <a:gd name="T33" fmla="*/ 106 h 669"/>
                <a:gd name="T34" fmla="*/ 186 w 562"/>
                <a:gd name="T35" fmla="*/ 87 h 669"/>
                <a:gd name="T36" fmla="*/ 173 w 562"/>
                <a:gd name="T37" fmla="*/ 53 h 669"/>
                <a:gd name="T38" fmla="*/ 154 w 562"/>
                <a:gd name="T39" fmla="*/ 32 h 669"/>
                <a:gd name="T40" fmla="*/ 135 w 562"/>
                <a:gd name="T41" fmla="*/ 35 h 669"/>
                <a:gd name="T42" fmla="*/ 108 w 562"/>
                <a:gd name="T43" fmla="*/ 14 h 669"/>
                <a:gd name="T44" fmla="*/ 76 w 562"/>
                <a:gd name="T45" fmla="*/ 1 h 669"/>
                <a:gd name="T46" fmla="*/ 58 w 562"/>
                <a:gd name="T47" fmla="*/ 15 h 669"/>
                <a:gd name="T48" fmla="*/ 39 w 562"/>
                <a:gd name="T49" fmla="*/ 13 h 669"/>
                <a:gd name="T50" fmla="*/ 11 w 562"/>
                <a:gd name="T51" fmla="*/ 49 h 669"/>
                <a:gd name="T52" fmla="*/ 12 w 562"/>
                <a:gd name="T53" fmla="*/ 79 h 669"/>
                <a:gd name="T54" fmla="*/ 26 w 562"/>
                <a:gd name="T55" fmla="*/ 102 h 669"/>
                <a:gd name="T56" fmla="*/ 30 w 562"/>
                <a:gd name="T57" fmla="*/ 119 h 669"/>
                <a:gd name="T58" fmla="*/ 48 w 562"/>
                <a:gd name="T59" fmla="*/ 184 h 669"/>
                <a:gd name="T60" fmla="*/ 73 w 562"/>
                <a:gd name="T61" fmla="*/ 231 h 669"/>
                <a:gd name="T62" fmla="*/ 86 w 562"/>
                <a:gd name="T63" fmla="*/ 250 h 669"/>
                <a:gd name="T64" fmla="*/ 61 w 562"/>
                <a:gd name="T65" fmla="*/ 283 h 669"/>
                <a:gd name="T66" fmla="*/ 25 w 562"/>
                <a:gd name="T67" fmla="*/ 329 h 669"/>
                <a:gd name="T68" fmla="*/ 40 w 562"/>
                <a:gd name="T69" fmla="*/ 347 h 669"/>
                <a:gd name="T70" fmla="*/ 59 w 562"/>
                <a:gd name="T71" fmla="*/ 403 h 669"/>
                <a:gd name="T72" fmla="*/ 46 w 562"/>
                <a:gd name="T73" fmla="*/ 432 h 669"/>
                <a:gd name="T74" fmla="*/ 99 w 562"/>
                <a:gd name="T75" fmla="*/ 639 h 669"/>
                <a:gd name="T76" fmla="*/ 183 w 562"/>
                <a:gd name="T77" fmla="*/ 658 h 669"/>
                <a:gd name="T78" fmla="*/ 226 w 562"/>
                <a:gd name="T79" fmla="*/ 661 h 669"/>
                <a:gd name="T80" fmla="*/ 286 w 562"/>
                <a:gd name="T81" fmla="*/ 655 h 669"/>
                <a:gd name="T82" fmla="*/ 330 w 562"/>
                <a:gd name="T83" fmla="*/ 613 h 669"/>
                <a:gd name="T84" fmla="*/ 339 w 562"/>
                <a:gd name="T85" fmla="*/ 546 h 669"/>
                <a:gd name="T86" fmla="*/ 359 w 562"/>
                <a:gd name="T87" fmla="*/ 509 h 669"/>
                <a:gd name="T88" fmla="*/ 414 w 562"/>
                <a:gd name="T89" fmla="*/ 484 h 669"/>
                <a:gd name="T90" fmla="*/ 442 w 562"/>
                <a:gd name="T91" fmla="*/ 468 h 669"/>
                <a:gd name="T92" fmla="*/ 446 w 562"/>
                <a:gd name="T93" fmla="*/ 436 h 669"/>
                <a:gd name="T94" fmla="*/ 309 w 562"/>
                <a:gd name="T95" fmla="*/ 562 h 669"/>
                <a:gd name="T96" fmla="*/ 308 w 562"/>
                <a:gd name="T97" fmla="*/ 554 h 669"/>
                <a:gd name="T98" fmla="*/ 318 w 562"/>
                <a:gd name="T99" fmla="*/ 532 h 669"/>
                <a:gd name="T100" fmla="*/ 350 w 562"/>
                <a:gd name="T101" fmla="*/ 457 h 669"/>
                <a:gd name="T102" fmla="*/ 372 w 562"/>
                <a:gd name="T103" fmla="*/ 411 h 669"/>
                <a:gd name="T104" fmla="*/ 412 w 562"/>
                <a:gd name="T105" fmla="*/ 390 h 669"/>
                <a:gd name="T106" fmla="*/ 435 w 562"/>
                <a:gd name="T107" fmla="*/ 383 h 669"/>
                <a:gd name="T108" fmla="*/ 459 w 562"/>
                <a:gd name="T109" fmla="*/ 373 h 669"/>
                <a:gd name="T110" fmla="*/ 477 w 562"/>
                <a:gd name="T111" fmla="*/ 365 h 669"/>
                <a:gd name="T112" fmla="*/ 507 w 562"/>
                <a:gd name="T113" fmla="*/ 351 h 669"/>
                <a:gd name="T114" fmla="*/ 532 w 562"/>
                <a:gd name="T115" fmla="*/ 311 h 669"/>
                <a:gd name="T116" fmla="*/ 547 w 562"/>
                <a:gd name="T117" fmla="*/ 281 h 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62" h="669">
                  <a:moveTo>
                    <a:pt x="551" y="246"/>
                  </a:moveTo>
                  <a:cubicBezTo>
                    <a:pt x="549" y="248"/>
                    <a:pt x="549" y="248"/>
                    <a:pt x="549" y="248"/>
                  </a:cubicBezTo>
                  <a:cubicBezTo>
                    <a:pt x="538" y="253"/>
                    <a:pt x="526" y="259"/>
                    <a:pt x="515" y="265"/>
                  </a:cubicBezTo>
                  <a:cubicBezTo>
                    <a:pt x="513" y="266"/>
                    <a:pt x="513" y="266"/>
                    <a:pt x="513" y="266"/>
                  </a:cubicBezTo>
                  <a:cubicBezTo>
                    <a:pt x="488" y="279"/>
                    <a:pt x="461" y="292"/>
                    <a:pt x="435" y="306"/>
                  </a:cubicBezTo>
                  <a:cubicBezTo>
                    <a:pt x="430" y="308"/>
                    <a:pt x="425" y="310"/>
                    <a:pt x="421" y="313"/>
                  </a:cubicBezTo>
                  <a:cubicBezTo>
                    <a:pt x="418" y="314"/>
                    <a:pt x="416" y="314"/>
                    <a:pt x="414" y="314"/>
                  </a:cubicBezTo>
                  <a:cubicBezTo>
                    <a:pt x="409" y="314"/>
                    <a:pt x="406" y="312"/>
                    <a:pt x="401" y="308"/>
                  </a:cubicBezTo>
                  <a:cubicBezTo>
                    <a:pt x="397" y="303"/>
                    <a:pt x="398" y="299"/>
                    <a:pt x="399" y="295"/>
                  </a:cubicBezTo>
                  <a:cubicBezTo>
                    <a:pt x="399" y="291"/>
                    <a:pt x="400" y="288"/>
                    <a:pt x="397" y="284"/>
                  </a:cubicBezTo>
                  <a:cubicBezTo>
                    <a:pt x="395" y="281"/>
                    <a:pt x="393" y="280"/>
                    <a:pt x="391" y="280"/>
                  </a:cubicBezTo>
                  <a:cubicBezTo>
                    <a:pt x="390" y="280"/>
                    <a:pt x="390" y="280"/>
                    <a:pt x="389" y="280"/>
                  </a:cubicBezTo>
                  <a:cubicBezTo>
                    <a:pt x="386" y="281"/>
                    <a:pt x="383" y="287"/>
                    <a:pt x="383" y="292"/>
                  </a:cubicBezTo>
                  <a:cubicBezTo>
                    <a:pt x="383" y="297"/>
                    <a:pt x="386" y="300"/>
                    <a:pt x="389" y="303"/>
                  </a:cubicBezTo>
                  <a:cubicBezTo>
                    <a:pt x="391" y="306"/>
                    <a:pt x="392" y="308"/>
                    <a:pt x="394" y="311"/>
                  </a:cubicBezTo>
                  <a:cubicBezTo>
                    <a:pt x="396" y="317"/>
                    <a:pt x="396" y="325"/>
                    <a:pt x="395" y="333"/>
                  </a:cubicBezTo>
                  <a:cubicBezTo>
                    <a:pt x="395" y="334"/>
                    <a:pt x="395" y="336"/>
                    <a:pt x="395" y="337"/>
                  </a:cubicBezTo>
                  <a:cubicBezTo>
                    <a:pt x="395" y="338"/>
                    <a:pt x="395" y="338"/>
                    <a:pt x="394" y="338"/>
                  </a:cubicBezTo>
                  <a:cubicBezTo>
                    <a:pt x="394" y="338"/>
                    <a:pt x="394" y="338"/>
                    <a:pt x="394" y="338"/>
                  </a:cubicBezTo>
                  <a:cubicBezTo>
                    <a:pt x="392" y="338"/>
                    <a:pt x="387" y="335"/>
                    <a:pt x="379" y="329"/>
                  </a:cubicBezTo>
                  <a:cubicBezTo>
                    <a:pt x="378" y="328"/>
                    <a:pt x="378" y="328"/>
                    <a:pt x="378" y="328"/>
                  </a:cubicBezTo>
                  <a:cubicBezTo>
                    <a:pt x="376" y="327"/>
                    <a:pt x="375" y="326"/>
                    <a:pt x="373" y="326"/>
                  </a:cubicBezTo>
                  <a:cubicBezTo>
                    <a:pt x="371" y="326"/>
                    <a:pt x="369" y="327"/>
                    <a:pt x="367" y="329"/>
                  </a:cubicBezTo>
                  <a:cubicBezTo>
                    <a:pt x="365" y="330"/>
                    <a:pt x="365" y="330"/>
                    <a:pt x="365" y="330"/>
                  </a:cubicBezTo>
                  <a:cubicBezTo>
                    <a:pt x="360" y="333"/>
                    <a:pt x="358" y="333"/>
                    <a:pt x="355" y="333"/>
                  </a:cubicBezTo>
                  <a:cubicBezTo>
                    <a:pt x="354" y="333"/>
                    <a:pt x="353" y="333"/>
                    <a:pt x="352" y="333"/>
                  </a:cubicBezTo>
                  <a:cubicBezTo>
                    <a:pt x="350" y="333"/>
                    <a:pt x="350" y="333"/>
                    <a:pt x="350" y="333"/>
                  </a:cubicBezTo>
                  <a:cubicBezTo>
                    <a:pt x="344" y="333"/>
                    <a:pt x="344" y="333"/>
                    <a:pt x="341" y="328"/>
                  </a:cubicBezTo>
                  <a:cubicBezTo>
                    <a:pt x="341" y="327"/>
                    <a:pt x="341" y="327"/>
                    <a:pt x="341" y="327"/>
                  </a:cubicBezTo>
                  <a:cubicBezTo>
                    <a:pt x="340" y="325"/>
                    <a:pt x="339" y="323"/>
                    <a:pt x="339" y="320"/>
                  </a:cubicBezTo>
                  <a:cubicBezTo>
                    <a:pt x="338" y="315"/>
                    <a:pt x="337" y="313"/>
                    <a:pt x="336" y="311"/>
                  </a:cubicBezTo>
                  <a:cubicBezTo>
                    <a:pt x="335" y="311"/>
                    <a:pt x="335" y="310"/>
                    <a:pt x="335" y="310"/>
                  </a:cubicBezTo>
                  <a:cubicBezTo>
                    <a:pt x="332" y="308"/>
                    <a:pt x="332" y="308"/>
                    <a:pt x="332" y="308"/>
                  </a:cubicBezTo>
                  <a:cubicBezTo>
                    <a:pt x="330" y="312"/>
                    <a:pt x="330" y="312"/>
                    <a:pt x="330" y="312"/>
                  </a:cubicBezTo>
                  <a:cubicBezTo>
                    <a:pt x="330" y="312"/>
                    <a:pt x="330" y="313"/>
                    <a:pt x="330" y="313"/>
                  </a:cubicBezTo>
                  <a:cubicBezTo>
                    <a:pt x="329" y="314"/>
                    <a:pt x="329" y="314"/>
                    <a:pt x="329" y="314"/>
                  </a:cubicBezTo>
                  <a:cubicBezTo>
                    <a:pt x="329" y="316"/>
                    <a:pt x="328" y="318"/>
                    <a:pt x="327" y="318"/>
                  </a:cubicBezTo>
                  <a:cubicBezTo>
                    <a:pt x="327" y="318"/>
                    <a:pt x="326" y="318"/>
                    <a:pt x="326" y="318"/>
                  </a:cubicBezTo>
                  <a:cubicBezTo>
                    <a:pt x="325" y="318"/>
                    <a:pt x="325" y="318"/>
                    <a:pt x="324" y="318"/>
                  </a:cubicBezTo>
                  <a:cubicBezTo>
                    <a:pt x="321" y="316"/>
                    <a:pt x="320" y="310"/>
                    <a:pt x="319" y="307"/>
                  </a:cubicBezTo>
                  <a:cubicBezTo>
                    <a:pt x="319" y="307"/>
                    <a:pt x="319" y="307"/>
                    <a:pt x="319" y="307"/>
                  </a:cubicBezTo>
                  <a:cubicBezTo>
                    <a:pt x="319" y="305"/>
                    <a:pt x="318" y="304"/>
                    <a:pt x="318" y="303"/>
                  </a:cubicBezTo>
                  <a:cubicBezTo>
                    <a:pt x="317" y="299"/>
                    <a:pt x="317" y="296"/>
                    <a:pt x="313" y="294"/>
                  </a:cubicBezTo>
                  <a:cubicBezTo>
                    <a:pt x="311" y="293"/>
                    <a:pt x="309" y="293"/>
                    <a:pt x="307" y="292"/>
                  </a:cubicBezTo>
                  <a:cubicBezTo>
                    <a:pt x="304" y="292"/>
                    <a:pt x="301" y="292"/>
                    <a:pt x="298" y="289"/>
                  </a:cubicBezTo>
                  <a:cubicBezTo>
                    <a:pt x="297" y="288"/>
                    <a:pt x="297" y="286"/>
                    <a:pt x="297" y="285"/>
                  </a:cubicBezTo>
                  <a:cubicBezTo>
                    <a:pt x="297" y="283"/>
                    <a:pt x="297" y="282"/>
                    <a:pt x="296" y="281"/>
                  </a:cubicBezTo>
                  <a:cubicBezTo>
                    <a:pt x="295" y="279"/>
                    <a:pt x="294" y="279"/>
                    <a:pt x="292" y="278"/>
                  </a:cubicBezTo>
                  <a:cubicBezTo>
                    <a:pt x="291" y="278"/>
                    <a:pt x="289" y="277"/>
                    <a:pt x="288" y="276"/>
                  </a:cubicBezTo>
                  <a:cubicBezTo>
                    <a:pt x="287" y="274"/>
                    <a:pt x="285" y="266"/>
                    <a:pt x="284" y="258"/>
                  </a:cubicBezTo>
                  <a:cubicBezTo>
                    <a:pt x="284" y="258"/>
                    <a:pt x="284" y="258"/>
                    <a:pt x="284" y="258"/>
                  </a:cubicBezTo>
                  <a:cubicBezTo>
                    <a:pt x="286" y="255"/>
                    <a:pt x="288" y="253"/>
                    <a:pt x="292" y="252"/>
                  </a:cubicBezTo>
                  <a:cubicBezTo>
                    <a:pt x="294" y="251"/>
                    <a:pt x="294" y="251"/>
                    <a:pt x="294" y="251"/>
                  </a:cubicBezTo>
                  <a:cubicBezTo>
                    <a:pt x="293" y="248"/>
                    <a:pt x="293" y="248"/>
                    <a:pt x="293" y="248"/>
                  </a:cubicBezTo>
                  <a:cubicBezTo>
                    <a:pt x="293" y="247"/>
                    <a:pt x="292" y="246"/>
                    <a:pt x="290" y="244"/>
                  </a:cubicBezTo>
                  <a:cubicBezTo>
                    <a:pt x="287" y="242"/>
                    <a:pt x="285" y="240"/>
                    <a:pt x="286" y="237"/>
                  </a:cubicBezTo>
                  <a:cubicBezTo>
                    <a:pt x="286" y="237"/>
                    <a:pt x="287" y="237"/>
                    <a:pt x="287" y="237"/>
                  </a:cubicBezTo>
                  <a:cubicBezTo>
                    <a:pt x="289" y="237"/>
                    <a:pt x="290" y="238"/>
                    <a:pt x="292" y="239"/>
                  </a:cubicBezTo>
                  <a:cubicBezTo>
                    <a:pt x="294" y="240"/>
                    <a:pt x="295" y="240"/>
                    <a:pt x="296" y="240"/>
                  </a:cubicBezTo>
                  <a:cubicBezTo>
                    <a:pt x="297" y="240"/>
                    <a:pt x="297" y="240"/>
                    <a:pt x="297" y="240"/>
                  </a:cubicBezTo>
                  <a:cubicBezTo>
                    <a:pt x="299" y="240"/>
                    <a:pt x="299" y="240"/>
                    <a:pt x="299" y="240"/>
                  </a:cubicBezTo>
                  <a:cubicBezTo>
                    <a:pt x="299" y="238"/>
                    <a:pt x="299" y="238"/>
                    <a:pt x="299" y="238"/>
                  </a:cubicBezTo>
                  <a:cubicBezTo>
                    <a:pt x="300" y="236"/>
                    <a:pt x="299" y="233"/>
                    <a:pt x="298" y="228"/>
                  </a:cubicBezTo>
                  <a:cubicBezTo>
                    <a:pt x="298" y="227"/>
                    <a:pt x="298" y="226"/>
                    <a:pt x="298" y="225"/>
                  </a:cubicBezTo>
                  <a:cubicBezTo>
                    <a:pt x="301" y="226"/>
                    <a:pt x="304" y="227"/>
                    <a:pt x="307" y="228"/>
                  </a:cubicBezTo>
                  <a:cubicBezTo>
                    <a:pt x="312" y="230"/>
                    <a:pt x="316" y="233"/>
                    <a:pt x="322" y="233"/>
                  </a:cubicBezTo>
                  <a:cubicBezTo>
                    <a:pt x="328" y="233"/>
                    <a:pt x="333" y="230"/>
                    <a:pt x="338" y="228"/>
                  </a:cubicBezTo>
                  <a:cubicBezTo>
                    <a:pt x="342" y="227"/>
                    <a:pt x="345" y="225"/>
                    <a:pt x="348" y="225"/>
                  </a:cubicBezTo>
                  <a:cubicBezTo>
                    <a:pt x="350" y="224"/>
                    <a:pt x="352" y="224"/>
                    <a:pt x="354" y="224"/>
                  </a:cubicBezTo>
                  <a:cubicBezTo>
                    <a:pt x="358" y="224"/>
                    <a:pt x="358" y="224"/>
                    <a:pt x="358" y="224"/>
                  </a:cubicBezTo>
                  <a:cubicBezTo>
                    <a:pt x="363" y="224"/>
                    <a:pt x="369" y="224"/>
                    <a:pt x="370" y="216"/>
                  </a:cubicBezTo>
                  <a:cubicBezTo>
                    <a:pt x="370" y="213"/>
                    <a:pt x="368" y="211"/>
                    <a:pt x="367" y="209"/>
                  </a:cubicBezTo>
                  <a:cubicBezTo>
                    <a:pt x="366" y="208"/>
                    <a:pt x="365" y="207"/>
                    <a:pt x="364" y="205"/>
                  </a:cubicBezTo>
                  <a:cubicBezTo>
                    <a:pt x="363" y="202"/>
                    <a:pt x="363" y="200"/>
                    <a:pt x="364" y="198"/>
                  </a:cubicBezTo>
                  <a:cubicBezTo>
                    <a:pt x="364" y="196"/>
                    <a:pt x="364" y="195"/>
                    <a:pt x="364" y="193"/>
                  </a:cubicBezTo>
                  <a:cubicBezTo>
                    <a:pt x="364" y="187"/>
                    <a:pt x="360" y="186"/>
                    <a:pt x="356" y="184"/>
                  </a:cubicBezTo>
                  <a:cubicBezTo>
                    <a:pt x="354" y="183"/>
                    <a:pt x="352" y="182"/>
                    <a:pt x="350" y="181"/>
                  </a:cubicBezTo>
                  <a:cubicBezTo>
                    <a:pt x="349" y="179"/>
                    <a:pt x="348" y="178"/>
                    <a:pt x="347" y="177"/>
                  </a:cubicBezTo>
                  <a:cubicBezTo>
                    <a:pt x="346" y="175"/>
                    <a:pt x="345" y="174"/>
                    <a:pt x="343" y="173"/>
                  </a:cubicBezTo>
                  <a:cubicBezTo>
                    <a:pt x="341" y="172"/>
                    <a:pt x="339" y="172"/>
                    <a:pt x="338" y="172"/>
                  </a:cubicBezTo>
                  <a:cubicBezTo>
                    <a:pt x="335" y="171"/>
                    <a:pt x="332" y="171"/>
                    <a:pt x="329" y="167"/>
                  </a:cubicBezTo>
                  <a:cubicBezTo>
                    <a:pt x="328" y="163"/>
                    <a:pt x="327" y="158"/>
                    <a:pt x="327" y="153"/>
                  </a:cubicBezTo>
                  <a:cubicBezTo>
                    <a:pt x="327" y="149"/>
                    <a:pt x="327" y="146"/>
                    <a:pt x="326" y="144"/>
                  </a:cubicBezTo>
                  <a:cubicBezTo>
                    <a:pt x="325" y="139"/>
                    <a:pt x="325" y="135"/>
                    <a:pt x="325" y="131"/>
                  </a:cubicBezTo>
                  <a:cubicBezTo>
                    <a:pt x="325" y="128"/>
                    <a:pt x="325" y="125"/>
                    <a:pt x="324" y="122"/>
                  </a:cubicBezTo>
                  <a:cubicBezTo>
                    <a:pt x="323" y="115"/>
                    <a:pt x="322" y="114"/>
                    <a:pt x="316" y="113"/>
                  </a:cubicBezTo>
                  <a:cubicBezTo>
                    <a:pt x="314" y="112"/>
                    <a:pt x="312" y="112"/>
                    <a:pt x="309" y="110"/>
                  </a:cubicBezTo>
                  <a:cubicBezTo>
                    <a:pt x="303" y="107"/>
                    <a:pt x="303" y="101"/>
                    <a:pt x="304" y="93"/>
                  </a:cubicBezTo>
                  <a:cubicBezTo>
                    <a:pt x="305" y="85"/>
                    <a:pt x="306" y="78"/>
                    <a:pt x="298" y="76"/>
                  </a:cubicBezTo>
                  <a:cubicBezTo>
                    <a:pt x="297" y="75"/>
                    <a:pt x="296" y="75"/>
                    <a:pt x="295" y="75"/>
                  </a:cubicBezTo>
                  <a:cubicBezTo>
                    <a:pt x="293" y="75"/>
                    <a:pt x="291" y="76"/>
                    <a:pt x="289" y="76"/>
                  </a:cubicBezTo>
                  <a:cubicBezTo>
                    <a:pt x="288" y="76"/>
                    <a:pt x="287" y="77"/>
                    <a:pt x="285" y="77"/>
                  </a:cubicBezTo>
                  <a:cubicBezTo>
                    <a:pt x="284" y="77"/>
                    <a:pt x="282" y="76"/>
                    <a:pt x="280" y="72"/>
                  </a:cubicBezTo>
                  <a:cubicBezTo>
                    <a:pt x="280" y="71"/>
                    <a:pt x="280" y="69"/>
                    <a:pt x="281" y="67"/>
                  </a:cubicBezTo>
                  <a:cubicBezTo>
                    <a:pt x="282" y="65"/>
                    <a:pt x="282" y="64"/>
                    <a:pt x="282" y="63"/>
                  </a:cubicBezTo>
                  <a:cubicBezTo>
                    <a:pt x="281" y="63"/>
                    <a:pt x="281" y="63"/>
                    <a:pt x="281" y="63"/>
                  </a:cubicBezTo>
                  <a:cubicBezTo>
                    <a:pt x="281" y="62"/>
                    <a:pt x="281" y="62"/>
                    <a:pt x="281" y="62"/>
                  </a:cubicBezTo>
                  <a:cubicBezTo>
                    <a:pt x="281" y="61"/>
                    <a:pt x="280" y="60"/>
                    <a:pt x="277" y="60"/>
                  </a:cubicBezTo>
                  <a:cubicBezTo>
                    <a:pt x="277" y="60"/>
                    <a:pt x="276" y="60"/>
                    <a:pt x="276" y="60"/>
                  </a:cubicBezTo>
                  <a:cubicBezTo>
                    <a:pt x="275" y="60"/>
                    <a:pt x="275" y="60"/>
                    <a:pt x="274" y="60"/>
                  </a:cubicBezTo>
                  <a:cubicBezTo>
                    <a:pt x="273" y="60"/>
                    <a:pt x="272" y="60"/>
                    <a:pt x="271" y="59"/>
                  </a:cubicBezTo>
                  <a:cubicBezTo>
                    <a:pt x="269" y="57"/>
                    <a:pt x="268" y="50"/>
                    <a:pt x="267" y="45"/>
                  </a:cubicBezTo>
                  <a:cubicBezTo>
                    <a:pt x="266" y="42"/>
                    <a:pt x="266" y="39"/>
                    <a:pt x="265" y="37"/>
                  </a:cubicBezTo>
                  <a:cubicBezTo>
                    <a:pt x="264" y="34"/>
                    <a:pt x="263" y="31"/>
                    <a:pt x="263" y="28"/>
                  </a:cubicBezTo>
                  <a:cubicBezTo>
                    <a:pt x="262" y="24"/>
                    <a:pt x="262" y="24"/>
                    <a:pt x="262" y="24"/>
                  </a:cubicBezTo>
                  <a:cubicBezTo>
                    <a:pt x="256" y="25"/>
                    <a:pt x="256" y="25"/>
                    <a:pt x="256" y="25"/>
                  </a:cubicBezTo>
                  <a:cubicBezTo>
                    <a:pt x="256" y="25"/>
                    <a:pt x="256" y="25"/>
                    <a:pt x="256" y="26"/>
                  </a:cubicBezTo>
                  <a:cubicBezTo>
                    <a:pt x="255" y="28"/>
                    <a:pt x="256" y="30"/>
                    <a:pt x="257" y="33"/>
                  </a:cubicBezTo>
                  <a:cubicBezTo>
                    <a:pt x="257" y="33"/>
                    <a:pt x="257" y="34"/>
                    <a:pt x="258" y="36"/>
                  </a:cubicBezTo>
                  <a:cubicBezTo>
                    <a:pt x="258" y="36"/>
                    <a:pt x="258" y="37"/>
                    <a:pt x="258" y="38"/>
                  </a:cubicBezTo>
                  <a:cubicBezTo>
                    <a:pt x="258" y="39"/>
                    <a:pt x="259" y="40"/>
                    <a:pt x="259" y="41"/>
                  </a:cubicBezTo>
                  <a:cubicBezTo>
                    <a:pt x="259" y="43"/>
                    <a:pt x="259" y="44"/>
                    <a:pt x="259" y="46"/>
                  </a:cubicBezTo>
                  <a:cubicBezTo>
                    <a:pt x="259" y="47"/>
                    <a:pt x="258" y="47"/>
                    <a:pt x="257" y="48"/>
                  </a:cubicBezTo>
                  <a:cubicBezTo>
                    <a:pt x="257" y="49"/>
                    <a:pt x="256" y="49"/>
                    <a:pt x="256" y="50"/>
                  </a:cubicBezTo>
                  <a:cubicBezTo>
                    <a:pt x="254" y="52"/>
                    <a:pt x="253" y="55"/>
                    <a:pt x="254" y="59"/>
                  </a:cubicBezTo>
                  <a:cubicBezTo>
                    <a:pt x="254" y="62"/>
                    <a:pt x="257" y="63"/>
                    <a:pt x="258" y="65"/>
                  </a:cubicBezTo>
                  <a:cubicBezTo>
                    <a:pt x="259" y="65"/>
                    <a:pt x="259" y="65"/>
                    <a:pt x="259" y="65"/>
                  </a:cubicBezTo>
                  <a:cubicBezTo>
                    <a:pt x="260" y="66"/>
                    <a:pt x="260" y="67"/>
                    <a:pt x="260" y="70"/>
                  </a:cubicBezTo>
                  <a:cubicBezTo>
                    <a:pt x="260" y="71"/>
                    <a:pt x="260" y="72"/>
                    <a:pt x="260" y="73"/>
                  </a:cubicBezTo>
                  <a:cubicBezTo>
                    <a:pt x="260" y="74"/>
                    <a:pt x="260" y="74"/>
                    <a:pt x="260" y="74"/>
                  </a:cubicBezTo>
                  <a:cubicBezTo>
                    <a:pt x="260" y="76"/>
                    <a:pt x="260" y="78"/>
                    <a:pt x="262" y="80"/>
                  </a:cubicBezTo>
                  <a:cubicBezTo>
                    <a:pt x="262" y="80"/>
                    <a:pt x="262" y="80"/>
                    <a:pt x="262" y="80"/>
                  </a:cubicBezTo>
                  <a:cubicBezTo>
                    <a:pt x="262" y="81"/>
                    <a:pt x="262" y="82"/>
                    <a:pt x="261" y="83"/>
                  </a:cubicBezTo>
                  <a:cubicBezTo>
                    <a:pt x="260" y="84"/>
                    <a:pt x="259" y="85"/>
                    <a:pt x="259" y="86"/>
                  </a:cubicBezTo>
                  <a:cubicBezTo>
                    <a:pt x="259" y="86"/>
                    <a:pt x="259" y="87"/>
                    <a:pt x="258" y="87"/>
                  </a:cubicBezTo>
                  <a:cubicBezTo>
                    <a:pt x="258" y="88"/>
                    <a:pt x="257" y="89"/>
                    <a:pt x="257" y="90"/>
                  </a:cubicBezTo>
                  <a:cubicBezTo>
                    <a:pt x="257" y="90"/>
                    <a:pt x="257" y="91"/>
                    <a:pt x="257" y="91"/>
                  </a:cubicBezTo>
                  <a:cubicBezTo>
                    <a:pt x="257" y="91"/>
                    <a:pt x="256" y="91"/>
                    <a:pt x="256" y="91"/>
                  </a:cubicBezTo>
                  <a:cubicBezTo>
                    <a:pt x="256" y="91"/>
                    <a:pt x="255" y="91"/>
                    <a:pt x="255" y="91"/>
                  </a:cubicBezTo>
                  <a:cubicBezTo>
                    <a:pt x="253" y="91"/>
                    <a:pt x="251" y="91"/>
                    <a:pt x="250" y="92"/>
                  </a:cubicBezTo>
                  <a:cubicBezTo>
                    <a:pt x="248" y="95"/>
                    <a:pt x="248" y="100"/>
                    <a:pt x="248" y="103"/>
                  </a:cubicBezTo>
                  <a:cubicBezTo>
                    <a:pt x="248" y="104"/>
                    <a:pt x="248" y="104"/>
                    <a:pt x="248" y="104"/>
                  </a:cubicBezTo>
                  <a:cubicBezTo>
                    <a:pt x="249" y="105"/>
                    <a:pt x="249" y="106"/>
                    <a:pt x="249" y="108"/>
                  </a:cubicBezTo>
                  <a:cubicBezTo>
                    <a:pt x="248" y="108"/>
                    <a:pt x="248" y="108"/>
                    <a:pt x="248" y="108"/>
                  </a:cubicBezTo>
                  <a:cubicBezTo>
                    <a:pt x="248" y="108"/>
                    <a:pt x="248" y="109"/>
                    <a:pt x="247" y="109"/>
                  </a:cubicBezTo>
                  <a:cubicBezTo>
                    <a:pt x="245" y="109"/>
                    <a:pt x="244" y="110"/>
                    <a:pt x="243" y="111"/>
                  </a:cubicBezTo>
                  <a:cubicBezTo>
                    <a:pt x="241" y="113"/>
                    <a:pt x="240" y="115"/>
                    <a:pt x="239" y="117"/>
                  </a:cubicBezTo>
                  <a:cubicBezTo>
                    <a:pt x="239" y="118"/>
                    <a:pt x="239" y="118"/>
                    <a:pt x="239" y="119"/>
                  </a:cubicBezTo>
                  <a:cubicBezTo>
                    <a:pt x="239" y="119"/>
                    <a:pt x="239" y="120"/>
                    <a:pt x="239" y="120"/>
                  </a:cubicBezTo>
                  <a:cubicBezTo>
                    <a:pt x="238" y="120"/>
                    <a:pt x="238" y="120"/>
                    <a:pt x="237" y="120"/>
                  </a:cubicBezTo>
                  <a:cubicBezTo>
                    <a:pt x="237" y="120"/>
                    <a:pt x="237" y="120"/>
                    <a:pt x="236" y="120"/>
                  </a:cubicBezTo>
                  <a:cubicBezTo>
                    <a:pt x="236" y="120"/>
                    <a:pt x="235" y="119"/>
                    <a:pt x="234" y="118"/>
                  </a:cubicBezTo>
                  <a:cubicBezTo>
                    <a:pt x="234" y="117"/>
                    <a:pt x="234" y="117"/>
                    <a:pt x="234" y="117"/>
                  </a:cubicBezTo>
                  <a:cubicBezTo>
                    <a:pt x="232" y="115"/>
                    <a:pt x="230" y="113"/>
                    <a:pt x="227" y="113"/>
                  </a:cubicBezTo>
                  <a:cubicBezTo>
                    <a:pt x="226" y="112"/>
                    <a:pt x="225" y="112"/>
                    <a:pt x="224" y="112"/>
                  </a:cubicBezTo>
                  <a:cubicBezTo>
                    <a:pt x="223" y="112"/>
                    <a:pt x="223" y="112"/>
                    <a:pt x="223" y="112"/>
                  </a:cubicBezTo>
                  <a:cubicBezTo>
                    <a:pt x="222" y="112"/>
                    <a:pt x="221" y="112"/>
                    <a:pt x="220" y="111"/>
                  </a:cubicBezTo>
                  <a:cubicBezTo>
                    <a:pt x="220" y="111"/>
                    <a:pt x="220" y="110"/>
                    <a:pt x="219" y="110"/>
                  </a:cubicBezTo>
                  <a:cubicBezTo>
                    <a:pt x="219" y="108"/>
                    <a:pt x="218" y="107"/>
                    <a:pt x="216" y="106"/>
                  </a:cubicBezTo>
                  <a:cubicBezTo>
                    <a:pt x="214" y="104"/>
                    <a:pt x="212" y="104"/>
                    <a:pt x="210" y="104"/>
                  </a:cubicBezTo>
                  <a:cubicBezTo>
                    <a:pt x="210" y="104"/>
                    <a:pt x="209" y="104"/>
                    <a:pt x="208" y="104"/>
                  </a:cubicBezTo>
                  <a:cubicBezTo>
                    <a:pt x="208" y="104"/>
                    <a:pt x="207" y="104"/>
                    <a:pt x="206" y="104"/>
                  </a:cubicBezTo>
                  <a:cubicBezTo>
                    <a:pt x="204" y="104"/>
                    <a:pt x="202" y="104"/>
                    <a:pt x="200" y="106"/>
                  </a:cubicBezTo>
                  <a:cubicBezTo>
                    <a:pt x="199" y="106"/>
                    <a:pt x="197" y="107"/>
                    <a:pt x="196" y="108"/>
                  </a:cubicBezTo>
                  <a:cubicBezTo>
                    <a:pt x="197" y="106"/>
                    <a:pt x="197" y="105"/>
                    <a:pt x="197" y="103"/>
                  </a:cubicBezTo>
                  <a:cubicBezTo>
                    <a:pt x="197" y="103"/>
                    <a:pt x="197" y="102"/>
                    <a:pt x="198" y="101"/>
                  </a:cubicBezTo>
                  <a:cubicBezTo>
                    <a:pt x="198" y="101"/>
                    <a:pt x="198" y="101"/>
                    <a:pt x="198" y="101"/>
                  </a:cubicBezTo>
                  <a:cubicBezTo>
                    <a:pt x="198" y="99"/>
                    <a:pt x="199" y="95"/>
                    <a:pt x="196" y="93"/>
                  </a:cubicBezTo>
                  <a:cubicBezTo>
                    <a:pt x="195" y="92"/>
                    <a:pt x="194" y="91"/>
                    <a:pt x="192" y="91"/>
                  </a:cubicBezTo>
                  <a:cubicBezTo>
                    <a:pt x="191" y="91"/>
                    <a:pt x="190" y="92"/>
                    <a:pt x="189" y="92"/>
                  </a:cubicBezTo>
                  <a:cubicBezTo>
                    <a:pt x="188" y="92"/>
                    <a:pt x="187" y="93"/>
                    <a:pt x="187" y="93"/>
                  </a:cubicBezTo>
                  <a:cubicBezTo>
                    <a:pt x="187" y="92"/>
                    <a:pt x="186" y="91"/>
                    <a:pt x="186" y="87"/>
                  </a:cubicBezTo>
                  <a:cubicBezTo>
                    <a:pt x="186" y="81"/>
                    <a:pt x="184" y="79"/>
                    <a:pt x="182" y="75"/>
                  </a:cubicBezTo>
                  <a:cubicBezTo>
                    <a:pt x="181" y="73"/>
                    <a:pt x="181" y="72"/>
                    <a:pt x="181" y="70"/>
                  </a:cubicBezTo>
                  <a:cubicBezTo>
                    <a:pt x="181" y="66"/>
                    <a:pt x="180" y="63"/>
                    <a:pt x="177" y="61"/>
                  </a:cubicBezTo>
                  <a:cubicBezTo>
                    <a:pt x="176" y="59"/>
                    <a:pt x="176" y="59"/>
                    <a:pt x="176" y="59"/>
                  </a:cubicBezTo>
                  <a:cubicBezTo>
                    <a:pt x="175" y="59"/>
                    <a:pt x="175" y="58"/>
                    <a:pt x="174" y="57"/>
                  </a:cubicBezTo>
                  <a:cubicBezTo>
                    <a:pt x="173" y="57"/>
                    <a:pt x="173" y="57"/>
                    <a:pt x="173" y="57"/>
                  </a:cubicBezTo>
                  <a:cubicBezTo>
                    <a:pt x="173" y="56"/>
                    <a:pt x="172" y="56"/>
                    <a:pt x="172" y="56"/>
                  </a:cubicBezTo>
                  <a:cubicBezTo>
                    <a:pt x="172" y="55"/>
                    <a:pt x="172" y="55"/>
                    <a:pt x="172" y="55"/>
                  </a:cubicBezTo>
                  <a:cubicBezTo>
                    <a:pt x="172" y="54"/>
                    <a:pt x="173" y="54"/>
                    <a:pt x="173" y="53"/>
                  </a:cubicBezTo>
                  <a:cubicBezTo>
                    <a:pt x="173" y="53"/>
                    <a:pt x="172" y="52"/>
                    <a:pt x="172" y="51"/>
                  </a:cubicBezTo>
                  <a:cubicBezTo>
                    <a:pt x="172" y="49"/>
                    <a:pt x="172" y="48"/>
                    <a:pt x="173" y="46"/>
                  </a:cubicBezTo>
                  <a:cubicBezTo>
                    <a:pt x="173" y="45"/>
                    <a:pt x="173" y="45"/>
                    <a:pt x="174" y="44"/>
                  </a:cubicBezTo>
                  <a:cubicBezTo>
                    <a:pt x="175" y="41"/>
                    <a:pt x="177" y="35"/>
                    <a:pt x="172" y="33"/>
                  </a:cubicBezTo>
                  <a:cubicBezTo>
                    <a:pt x="170" y="32"/>
                    <a:pt x="169" y="32"/>
                    <a:pt x="168" y="32"/>
                  </a:cubicBezTo>
                  <a:cubicBezTo>
                    <a:pt x="165" y="32"/>
                    <a:pt x="164" y="35"/>
                    <a:pt x="163" y="36"/>
                  </a:cubicBezTo>
                  <a:cubicBezTo>
                    <a:pt x="163" y="37"/>
                    <a:pt x="162" y="38"/>
                    <a:pt x="162" y="38"/>
                  </a:cubicBezTo>
                  <a:cubicBezTo>
                    <a:pt x="162" y="38"/>
                    <a:pt x="161" y="37"/>
                    <a:pt x="160" y="36"/>
                  </a:cubicBezTo>
                  <a:cubicBezTo>
                    <a:pt x="159" y="34"/>
                    <a:pt x="157" y="32"/>
                    <a:pt x="154" y="32"/>
                  </a:cubicBezTo>
                  <a:cubicBezTo>
                    <a:pt x="153" y="32"/>
                    <a:pt x="153" y="32"/>
                    <a:pt x="152" y="32"/>
                  </a:cubicBezTo>
                  <a:cubicBezTo>
                    <a:pt x="150" y="32"/>
                    <a:pt x="149" y="34"/>
                    <a:pt x="148" y="34"/>
                  </a:cubicBezTo>
                  <a:cubicBezTo>
                    <a:pt x="148" y="35"/>
                    <a:pt x="148" y="35"/>
                    <a:pt x="148" y="35"/>
                  </a:cubicBezTo>
                  <a:cubicBezTo>
                    <a:pt x="147" y="35"/>
                    <a:pt x="147" y="35"/>
                    <a:pt x="145" y="35"/>
                  </a:cubicBezTo>
                  <a:cubicBezTo>
                    <a:pt x="145" y="35"/>
                    <a:pt x="144" y="35"/>
                    <a:pt x="144" y="35"/>
                  </a:cubicBezTo>
                  <a:cubicBezTo>
                    <a:pt x="143" y="35"/>
                    <a:pt x="142" y="35"/>
                    <a:pt x="142" y="35"/>
                  </a:cubicBezTo>
                  <a:cubicBezTo>
                    <a:pt x="138" y="35"/>
                    <a:pt x="138" y="35"/>
                    <a:pt x="138" y="35"/>
                  </a:cubicBezTo>
                  <a:cubicBezTo>
                    <a:pt x="137" y="35"/>
                    <a:pt x="137" y="35"/>
                    <a:pt x="136" y="35"/>
                  </a:cubicBezTo>
                  <a:cubicBezTo>
                    <a:pt x="135" y="35"/>
                    <a:pt x="135" y="35"/>
                    <a:pt x="135" y="35"/>
                  </a:cubicBezTo>
                  <a:cubicBezTo>
                    <a:pt x="133" y="35"/>
                    <a:pt x="132" y="35"/>
                    <a:pt x="131" y="34"/>
                  </a:cubicBezTo>
                  <a:cubicBezTo>
                    <a:pt x="129" y="34"/>
                    <a:pt x="126" y="31"/>
                    <a:pt x="126" y="28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6" y="25"/>
                    <a:pt x="126" y="23"/>
                    <a:pt x="124" y="21"/>
                  </a:cubicBezTo>
                  <a:cubicBezTo>
                    <a:pt x="122" y="19"/>
                    <a:pt x="119" y="18"/>
                    <a:pt x="116" y="18"/>
                  </a:cubicBezTo>
                  <a:cubicBezTo>
                    <a:pt x="116" y="17"/>
                    <a:pt x="116" y="17"/>
                    <a:pt x="116" y="17"/>
                  </a:cubicBezTo>
                  <a:cubicBezTo>
                    <a:pt x="115" y="17"/>
                    <a:pt x="115" y="17"/>
                    <a:pt x="114" y="17"/>
                  </a:cubicBezTo>
                  <a:cubicBezTo>
                    <a:pt x="114" y="16"/>
                    <a:pt x="114" y="16"/>
                    <a:pt x="114" y="16"/>
                  </a:cubicBezTo>
                  <a:cubicBezTo>
                    <a:pt x="112" y="14"/>
                    <a:pt x="110" y="14"/>
                    <a:pt x="108" y="14"/>
                  </a:cubicBezTo>
                  <a:cubicBezTo>
                    <a:pt x="108" y="14"/>
                    <a:pt x="107" y="14"/>
                    <a:pt x="107" y="14"/>
                  </a:cubicBezTo>
                  <a:cubicBezTo>
                    <a:pt x="107" y="14"/>
                    <a:pt x="106" y="14"/>
                    <a:pt x="106" y="13"/>
                  </a:cubicBezTo>
                  <a:cubicBezTo>
                    <a:pt x="105" y="12"/>
                    <a:pt x="104" y="11"/>
                    <a:pt x="103" y="10"/>
                  </a:cubicBezTo>
                  <a:cubicBezTo>
                    <a:pt x="101" y="9"/>
                    <a:pt x="100" y="9"/>
                    <a:pt x="98" y="8"/>
                  </a:cubicBezTo>
                  <a:cubicBezTo>
                    <a:pt x="98" y="8"/>
                    <a:pt x="97" y="8"/>
                    <a:pt x="96" y="7"/>
                  </a:cubicBezTo>
                  <a:cubicBezTo>
                    <a:pt x="96" y="7"/>
                    <a:pt x="95" y="6"/>
                    <a:pt x="94" y="6"/>
                  </a:cubicBezTo>
                  <a:cubicBezTo>
                    <a:pt x="94" y="5"/>
                    <a:pt x="93" y="5"/>
                    <a:pt x="93" y="5"/>
                  </a:cubicBezTo>
                  <a:cubicBezTo>
                    <a:pt x="88" y="2"/>
                    <a:pt x="85" y="0"/>
                    <a:pt x="81" y="0"/>
                  </a:cubicBezTo>
                  <a:cubicBezTo>
                    <a:pt x="80" y="0"/>
                    <a:pt x="78" y="1"/>
                    <a:pt x="76" y="1"/>
                  </a:cubicBezTo>
                  <a:cubicBezTo>
                    <a:pt x="74" y="3"/>
                    <a:pt x="72" y="4"/>
                    <a:pt x="70" y="6"/>
                  </a:cubicBezTo>
                  <a:cubicBezTo>
                    <a:pt x="69" y="7"/>
                    <a:pt x="68" y="8"/>
                    <a:pt x="67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5" y="10"/>
                    <a:pt x="64" y="10"/>
                    <a:pt x="63" y="12"/>
                  </a:cubicBezTo>
                  <a:cubicBezTo>
                    <a:pt x="63" y="12"/>
                    <a:pt x="62" y="13"/>
                    <a:pt x="62" y="13"/>
                  </a:cubicBezTo>
                  <a:cubicBezTo>
                    <a:pt x="62" y="14"/>
                    <a:pt x="61" y="15"/>
                    <a:pt x="61" y="15"/>
                  </a:cubicBezTo>
                  <a:cubicBezTo>
                    <a:pt x="61" y="15"/>
                    <a:pt x="60" y="15"/>
                    <a:pt x="60" y="15"/>
                  </a:cubicBezTo>
                  <a:cubicBezTo>
                    <a:pt x="59" y="15"/>
                    <a:pt x="59" y="15"/>
                    <a:pt x="58" y="15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7" y="15"/>
                    <a:pt x="57" y="15"/>
                    <a:pt x="56" y="16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5" y="15"/>
                    <a:pt x="55" y="15"/>
                    <a:pt x="54" y="15"/>
                  </a:cubicBezTo>
                  <a:cubicBezTo>
                    <a:pt x="53" y="14"/>
                    <a:pt x="51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48" y="14"/>
                    <a:pt x="48" y="14"/>
                    <a:pt x="47" y="14"/>
                  </a:cubicBezTo>
                  <a:cubicBezTo>
                    <a:pt x="46" y="14"/>
                    <a:pt x="45" y="14"/>
                    <a:pt x="45" y="14"/>
                  </a:cubicBezTo>
                  <a:cubicBezTo>
                    <a:pt x="44" y="14"/>
                    <a:pt x="43" y="14"/>
                    <a:pt x="42" y="14"/>
                  </a:cubicBezTo>
                  <a:cubicBezTo>
                    <a:pt x="41" y="14"/>
                    <a:pt x="40" y="13"/>
                    <a:pt x="39" y="13"/>
                  </a:cubicBezTo>
                  <a:cubicBezTo>
                    <a:pt x="38" y="12"/>
                    <a:pt x="36" y="12"/>
                    <a:pt x="35" y="11"/>
                  </a:cubicBezTo>
                  <a:cubicBezTo>
                    <a:pt x="31" y="10"/>
                    <a:pt x="27" y="9"/>
                    <a:pt x="22" y="9"/>
                  </a:cubicBezTo>
                  <a:cubicBezTo>
                    <a:pt x="20" y="9"/>
                    <a:pt x="19" y="9"/>
                    <a:pt x="17" y="9"/>
                  </a:cubicBezTo>
                  <a:cubicBezTo>
                    <a:pt x="12" y="10"/>
                    <a:pt x="8" y="12"/>
                    <a:pt x="5" y="16"/>
                  </a:cubicBezTo>
                  <a:cubicBezTo>
                    <a:pt x="3" y="18"/>
                    <a:pt x="2" y="20"/>
                    <a:pt x="2" y="23"/>
                  </a:cubicBezTo>
                  <a:cubicBezTo>
                    <a:pt x="2" y="23"/>
                    <a:pt x="1" y="24"/>
                    <a:pt x="1" y="24"/>
                  </a:cubicBezTo>
                  <a:cubicBezTo>
                    <a:pt x="1" y="26"/>
                    <a:pt x="0" y="28"/>
                    <a:pt x="0" y="30"/>
                  </a:cubicBezTo>
                  <a:cubicBezTo>
                    <a:pt x="1" y="34"/>
                    <a:pt x="3" y="39"/>
                    <a:pt x="4" y="42"/>
                  </a:cubicBezTo>
                  <a:cubicBezTo>
                    <a:pt x="6" y="45"/>
                    <a:pt x="9" y="48"/>
                    <a:pt x="11" y="49"/>
                  </a:cubicBezTo>
                  <a:cubicBezTo>
                    <a:pt x="12" y="49"/>
                    <a:pt x="12" y="49"/>
                    <a:pt x="12" y="49"/>
                  </a:cubicBezTo>
                  <a:cubicBezTo>
                    <a:pt x="14" y="51"/>
                    <a:pt x="15" y="52"/>
                    <a:pt x="15" y="53"/>
                  </a:cubicBezTo>
                  <a:cubicBezTo>
                    <a:pt x="15" y="54"/>
                    <a:pt x="14" y="54"/>
                    <a:pt x="14" y="55"/>
                  </a:cubicBezTo>
                  <a:cubicBezTo>
                    <a:pt x="14" y="56"/>
                    <a:pt x="13" y="57"/>
                    <a:pt x="13" y="58"/>
                  </a:cubicBezTo>
                  <a:cubicBezTo>
                    <a:pt x="13" y="60"/>
                    <a:pt x="14" y="63"/>
                    <a:pt x="15" y="65"/>
                  </a:cubicBezTo>
                  <a:cubicBezTo>
                    <a:pt x="16" y="65"/>
                    <a:pt x="16" y="65"/>
                    <a:pt x="16" y="65"/>
                  </a:cubicBezTo>
                  <a:cubicBezTo>
                    <a:pt x="16" y="66"/>
                    <a:pt x="15" y="66"/>
                    <a:pt x="15" y="67"/>
                  </a:cubicBezTo>
                  <a:cubicBezTo>
                    <a:pt x="15" y="67"/>
                    <a:pt x="14" y="68"/>
                    <a:pt x="14" y="69"/>
                  </a:cubicBezTo>
                  <a:cubicBezTo>
                    <a:pt x="12" y="71"/>
                    <a:pt x="9" y="75"/>
                    <a:pt x="12" y="79"/>
                  </a:cubicBezTo>
                  <a:cubicBezTo>
                    <a:pt x="13" y="81"/>
                    <a:pt x="14" y="83"/>
                    <a:pt x="17" y="84"/>
                  </a:cubicBezTo>
                  <a:cubicBezTo>
                    <a:pt x="18" y="84"/>
                    <a:pt x="18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5"/>
                    <a:pt x="19" y="85"/>
                    <a:pt x="19" y="85"/>
                  </a:cubicBezTo>
                  <a:cubicBezTo>
                    <a:pt x="19" y="86"/>
                    <a:pt x="19" y="87"/>
                    <a:pt x="20" y="88"/>
                  </a:cubicBezTo>
                  <a:cubicBezTo>
                    <a:pt x="20" y="89"/>
                    <a:pt x="20" y="90"/>
                    <a:pt x="20" y="92"/>
                  </a:cubicBezTo>
                  <a:cubicBezTo>
                    <a:pt x="20" y="93"/>
                    <a:pt x="20" y="95"/>
                    <a:pt x="21" y="97"/>
                  </a:cubicBezTo>
                  <a:cubicBezTo>
                    <a:pt x="22" y="99"/>
                    <a:pt x="23" y="100"/>
                    <a:pt x="25" y="101"/>
                  </a:cubicBezTo>
                  <a:cubicBezTo>
                    <a:pt x="25" y="101"/>
                    <a:pt x="26" y="102"/>
                    <a:pt x="26" y="102"/>
                  </a:cubicBezTo>
                  <a:cubicBezTo>
                    <a:pt x="26" y="102"/>
                    <a:pt x="26" y="103"/>
                    <a:pt x="26" y="104"/>
                  </a:cubicBezTo>
                  <a:cubicBezTo>
                    <a:pt x="26" y="105"/>
                    <a:pt x="26" y="105"/>
                    <a:pt x="26" y="105"/>
                  </a:cubicBezTo>
                  <a:cubicBezTo>
                    <a:pt x="26" y="106"/>
                    <a:pt x="27" y="109"/>
                    <a:pt x="29" y="110"/>
                  </a:cubicBezTo>
                  <a:cubicBezTo>
                    <a:pt x="29" y="110"/>
                    <a:pt x="30" y="111"/>
                    <a:pt x="30" y="111"/>
                  </a:cubicBezTo>
                  <a:cubicBezTo>
                    <a:pt x="30" y="111"/>
                    <a:pt x="31" y="111"/>
                    <a:pt x="31" y="111"/>
                  </a:cubicBezTo>
                  <a:cubicBezTo>
                    <a:pt x="31" y="111"/>
                    <a:pt x="31" y="111"/>
                    <a:pt x="31" y="111"/>
                  </a:cubicBezTo>
                  <a:cubicBezTo>
                    <a:pt x="31" y="112"/>
                    <a:pt x="31" y="113"/>
                    <a:pt x="31" y="114"/>
                  </a:cubicBezTo>
                  <a:cubicBezTo>
                    <a:pt x="31" y="115"/>
                    <a:pt x="31" y="115"/>
                    <a:pt x="31" y="115"/>
                  </a:cubicBezTo>
                  <a:cubicBezTo>
                    <a:pt x="32" y="116"/>
                    <a:pt x="31" y="117"/>
                    <a:pt x="30" y="119"/>
                  </a:cubicBezTo>
                  <a:cubicBezTo>
                    <a:pt x="28" y="122"/>
                    <a:pt x="27" y="125"/>
                    <a:pt x="27" y="128"/>
                  </a:cubicBezTo>
                  <a:cubicBezTo>
                    <a:pt x="27" y="130"/>
                    <a:pt x="27" y="131"/>
                    <a:pt x="26" y="132"/>
                  </a:cubicBezTo>
                  <a:cubicBezTo>
                    <a:pt x="26" y="135"/>
                    <a:pt x="26" y="135"/>
                    <a:pt x="26" y="135"/>
                  </a:cubicBezTo>
                  <a:cubicBezTo>
                    <a:pt x="26" y="136"/>
                    <a:pt x="25" y="138"/>
                    <a:pt x="24" y="139"/>
                  </a:cubicBezTo>
                  <a:cubicBezTo>
                    <a:pt x="24" y="140"/>
                    <a:pt x="24" y="140"/>
                    <a:pt x="24" y="140"/>
                  </a:cubicBezTo>
                  <a:cubicBezTo>
                    <a:pt x="21" y="146"/>
                    <a:pt x="12" y="160"/>
                    <a:pt x="23" y="168"/>
                  </a:cubicBezTo>
                  <a:cubicBezTo>
                    <a:pt x="27" y="171"/>
                    <a:pt x="31" y="173"/>
                    <a:pt x="35" y="176"/>
                  </a:cubicBezTo>
                  <a:cubicBezTo>
                    <a:pt x="38" y="178"/>
                    <a:pt x="42" y="180"/>
                    <a:pt x="45" y="182"/>
                  </a:cubicBezTo>
                  <a:cubicBezTo>
                    <a:pt x="46" y="183"/>
                    <a:pt x="47" y="184"/>
                    <a:pt x="48" y="184"/>
                  </a:cubicBezTo>
                  <a:cubicBezTo>
                    <a:pt x="49" y="185"/>
                    <a:pt x="50" y="185"/>
                    <a:pt x="51" y="186"/>
                  </a:cubicBezTo>
                  <a:cubicBezTo>
                    <a:pt x="53" y="187"/>
                    <a:pt x="54" y="189"/>
                    <a:pt x="55" y="190"/>
                  </a:cubicBezTo>
                  <a:cubicBezTo>
                    <a:pt x="56" y="191"/>
                    <a:pt x="57" y="192"/>
                    <a:pt x="58" y="194"/>
                  </a:cubicBezTo>
                  <a:cubicBezTo>
                    <a:pt x="59" y="195"/>
                    <a:pt x="59" y="195"/>
                    <a:pt x="59" y="195"/>
                  </a:cubicBezTo>
                  <a:cubicBezTo>
                    <a:pt x="62" y="199"/>
                    <a:pt x="64" y="202"/>
                    <a:pt x="65" y="206"/>
                  </a:cubicBezTo>
                  <a:cubicBezTo>
                    <a:pt x="66" y="211"/>
                    <a:pt x="68" y="214"/>
                    <a:pt x="70" y="217"/>
                  </a:cubicBezTo>
                  <a:cubicBezTo>
                    <a:pt x="71" y="219"/>
                    <a:pt x="71" y="219"/>
                    <a:pt x="71" y="219"/>
                  </a:cubicBezTo>
                  <a:cubicBezTo>
                    <a:pt x="72" y="221"/>
                    <a:pt x="72" y="224"/>
                    <a:pt x="73" y="227"/>
                  </a:cubicBezTo>
                  <a:cubicBezTo>
                    <a:pt x="73" y="229"/>
                    <a:pt x="73" y="230"/>
                    <a:pt x="73" y="231"/>
                  </a:cubicBezTo>
                  <a:cubicBezTo>
                    <a:pt x="74" y="233"/>
                    <a:pt x="74" y="235"/>
                    <a:pt x="75" y="237"/>
                  </a:cubicBezTo>
                  <a:cubicBezTo>
                    <a:pt x="75" y="238"/>
                    <a:pt x="76" y="239"/>
                    <a:pt x="76" y="240"/>
                  </a:cubicBezTo>
                  <a:cubicBezTo>
                    <a:pt x="76" y="241"/>
                    <a:pt x="76" y="241"/>
                    <a:pt x="76" y="242"/>
                  </a:cubicBezTo>
                  <a:cubicBezTo>
                    <a:pt x="77" y="243"/>
                    <a:pt x="77" y="248"/>
                    <a:pt x="82" y="248"/>
                  </a:cubicBezTo>
                  <a:cubicBezTo>
                    <a:pt x="82" y="248"/>
                    <a:pt x="83" y="247"/>
                    <a:pt x="84" y="247"/>
                  </a:cubicBezTo>
                  <a:cubicBezTo>
                    <a:pt x="85" y="247"/>
                    <a:pt x="86" y="246"/>
                    <a:pt x="87" y="246"/>
                  </a:cubicBezTo>
                  <a:cubicBezTo>
                    <a:pt x="89" y="246"/>
                    <a:pt x="90" y="248"/>
                    <a:pt x="90" y="248"/>
                  </a:cubicBezTo>
                  <a:cubicBezTo>
                    <a:pt x="90" y="249"/>
                    <a:pt x="90" y="249"/>
                    <a:pt x="90" y="249"/>
                  </a:cubicBezTo>
                  <a:cubicBezTo>
                    <a:pt x="89" y="250"/>
                    <a:pt x="87" y="250"/>
                    <a:pt x="86" y="250"/>
                  </a:cubicBezTo>
                  <a:cubicBezTo>
                    <a:pt x="84" y="250"/>
                    <a:pt x="83" y="250"/>
                    <a:pt x="82" y="250"/>
                  </a:cubicBezTo>
                  <a:cubicBezTo>
                    <a:pt x="76" y="251"/>
                    <a:pt x="74" y="256"/>
                    <a:pt x="73" y="260"/>
                  </a:cubicBezTo>
                  <a:cubicBezTo>
                    <a:pt x="72" y="261"/>
                    <a:pt x="72" y="261"/>
                    <a:pt x="72" y="261"/>
                  </a:cubicBezTo>
                  <a:cubicBezTo>
                    <a:pt x="72" y="262"/>
                    <a:pt x="72" y="262"/>
                    <a:pt x="71" y="263"/>
                  </a:cubicBezTo>
                  <a:cubicBezTo>
                    <a:pt x="71" y="264"/>
                    <a:pt x="70" y="265"/>
                    <a:pt x="70" y="266"/>
                  </a:cubicBezTo>
                  <a:cubicBezTo>
                    <a:pt x="69" y="269"/>
                    <a:pt x="68" y="271"/>
                    <a:pt x="67" y="273"/>
                  </a:cubicBezTo>
                  <a:cubicBezTo>
                    <a:pt x="66" y="274"/>
                    <a:pt x="66" y="274"/>
                    <a:pt x="66" y="274"/>
                  </a:cubicBezTo>
                  <a:cubicBezTo>
                    <a:pt x="66" y="276"/>
                    <a:pt x="65" y="278"/>
                    <a:pt x="63" y="280"/>
                  </a:cubicBezTo>
                  <a:cubicBezTo>
                    <a:pt x="63" y="282"/>
                    <a:pt x="62" y="282"/>
                    <a:pt x="61" y="283"/>
                  </a:cubicBezTo>
                  <a:cubicBezTo>
                    <a:pt x="61" y="284"/>
                    <a:pt x="60" y="284"/>
                    <a:pt x="60" y="285"/>
                  </a:cubicBezTo>
                  <a:cubicBezTo>
                    <a:pt x="59" y="286"/>
                    <a:pt x="58" y="287"/>
                    <a:pt x="57" y="288"/>
                  </a:cubicBezTo>
                  <a:cubicBezTo>
                    <a:pt x="57" y="289"/>
                    <a:pt x="56" y="290"/>
                    <a:pt x="55" y="291"/>
                  </a:cubicBezTo>
                  <a:cubicBezTo>
                    <a:pt x="52" y="294"/>
                    <a:pt x="49" y="298"/>
                    <a:pt x="45" y="301"/>
                  </a:cubicBezTo>
                  <a:cubicBezTo>
                    <a:pt x="44" y="302"/>
                    <a:pt x="43" y="303"/>
                    <a:pt x="42" y="304"/>
                  </a:cubicBezTo>
                  <a:cubicBezTo>
                    <a:pt x="39" y="307"/>
                    <a:pt x="36" y="310"/>
                    <a:pt x="33" y="311"/>
                  </a:cubicBezTo>
                  <a:cubicBezTo>
                    <a:pt x="32" y="312"/>
                    <a:pt x="32" y="312"/>
                    <a:pt x="31" y="312"/>
                  </a:cubicBezTo>
                  <a:cubicBezTo>
                    <a:pt x="27" y="314"/>
                    <a:pt x="21" y="316"/>
                    <a:pt x="21" y="322"/>
                  </a:cubicBezTo>
                  <a:cubicBezTo>
                    <a:pt x="22" y="325"/>
                    <a:pt x="24" y="327"/>
                    <a:pt x="25" y="329"/>
                  </a:cubicBezTo>
                  <a:cubicBezTo>
                    <a:pt x="25" y="329"/>
                    <a:pt x="26" y="329"/>
                    <a:pt x="26" y="330"/>
                  </a:cubicBezTo>
                  <a:cubicBezTo>
                    <a:pt x="27" y="330"/>
                    <a:pt x="27" y="331"/>
                    <a:pt x="28" y="332"/>
                  </a:cubicBezTo>
                  <a:cubicBezTo>
                    <a:pt x="28" y="333"/>
                    <a:pt x="28" y="333"/>
                    <a:pt x="28" y="333"/>
                  </a:cubicBezTo>
                  <a:cubicBezTo>
                    <a:pt x="29" y="335"/>
                    <a:pt x="30" y="336"/>
                    <a:pt x="30" y="337"/>
                  </a:cubicBezTo>
                  <a:cubicBezTo>
                    <a:pt x="31" y="337"/>
                    <a:pt x="31" y="337"/>
                    <a:pt x="31" y="337"/>
                  </a:cubicBezTo>
                  <a:cubicBezTo>
                    <a:pt x="34" y="340"/>
                    <a:pt x="36" y="342"/>
                    <a:pt x="39" y="344"/>
                  </a:cubicBezTo>
                  <a:cubicBezTo>
                    <a:pt x="40" y="345"/>
                    <a:pt x="40" y="345"/>
                    <a:pt x="40" y="345"/>
                  </a:cubicBezTo>
                  <a:cubicBezTo>
                    <a:pt x="40" y="345"/>
                    <a:pt x="40" y="346"/>
                    <a:pt x="40" y="346"/>
                  </a:cubicBezTo>
                  <a:cubicBezTo>
                    <a:pt x="40" y="347"/>
                    <a:pt x="40" y="347"/>
                    <a:pt x="40" y="347"/>
                  </a:cubicBezTo>
                  <a:cubicBezTo>
                    <a:pt x="40" y="348"/>
                    <a:pt x="40" y="348"/>
                    <a:pt x="40" y="349"/>
                  </a:cubicBezTo>
                  <a:cubicBezTo>
                    <a:pt x="39" y="351"/>
                    <a:pt x="38" y="352"/>
                    <a:pt x="38" y="354"/>
                  </a:cubicBezTo>
                  <a:cubicBezTo>
                    <a:pt x="38" y="359"/>
                    <a:pt x="40" y="362"/>
                    <a:pt x="41" y="366"/>
                  </a:cubicBezTo>
                  <a:cubicBezTo>
                    <a:pt x="41" y="367"/>
                    <a:pt x="41" y="367"/>
                    <a:pt x="41" y="367"/>
                  </a:cubicBezTo>
                  <a:cubicBezTo>
                    <a:pt x="42" y="369"/>
                    <a:pt x="44" y="372"/>
                    <a:pt x="45" y="374"/>
                  </a:cubicBezTo>
                  <a:cubicBezTo>
                    <a:pt x="46" y="377"/>
                    <a:pt x="48" y="381"/>
                    <a:pt x="49" y="384"/>
                  </a:cubicBezTo>
                  <a:cubicBezTo>
                    <a:pt x="49" y="385"/>
                    <a:pt x="49" y="386"/>
                    <a:pt x="50" y="387"/>
                  </a:cubicBezTo>
                  <a:cubicBezTo>
                    <a:pt x="51" y="392"/>
                    <a:pt x="52" y="396"/>
                    <a:pt x="56" y="401"/>
                  </a:cubicBezTo>
                  <a:cubicBezTo>
                    <a:pt x="57" y="401"/>
                    <a:pt x="58" y="402"/>
                    <a:pt x="59" y="403"/>
                  </a:cubicBezTo>
                  <a:cubicBezTo>
                    <a:pt x="61" y="405"/>
                    <a:pt x="64" y="408"/>
                    <a:pt x="64" y="410"/>
                  </a:cubicBezTo>
                  <a:cubicBezTo>
                    <a:pt x="64" y="412"/>
                    <a:pt x="63" y="413"/>
                    <a:pt x="61" y="416"/>
                  </a:cubicBezTo>
                  <a:cubicBezTo>
                    <a:pt x="60" y="416"/>
                    <a:pt x="60" y="417"/>
                    <a:pt x="59" y="417"/>
                  </a:cubicBezTo>
                  <a:cubicBezTo>
                    <a:pt x="56" y="421"/>
                    <a:pt x="54" y="428"/>
                    <a:pt x="56" y="433"/>
                  </a:cubicBezTo>
                  <a:cubicBezTo>
                    <a:pt x="56" y="435"/>
                    <a:pt x="58" y="437"/>
                    <a:pt x="59" y="438"/>
                  </a:cubicBezTo>
                  <a:cubicBezTo>
                    <a:pt x="60" y="438"/>
                    <a:pt x="60" y="439"/>
                    <a:pt x="60" y="439"/>
                  </a:cubicBezTo>
                  <a:cubicBezTo>
                    <a:pt x="61" y="440"/>
                    <a:pt x="61" y="442"/>
                    <a:pt x="61" y="443"/>
                  </a:cubicBezTo>
                  <a:cubicBezTo>
                    <a:pt x="58" y="438"/>
                    <a:pt x="54" y="433"/>
                    <a:pt x="50" y="433"/>
                  </a:cubicBezTo>
                  <a:cubicBezTo>
                    <a:pt x="46" y="432"/>
                    <a:pt x="46" y="432"/>
                    <a:pt x="46" y="432"/>
                  </a:cubicBezTo>
                  <a:cubicBezTo>
                    <a:pt x="47" y="436"/>
                    <a:pt x="47" y="436"/>
                    <a:pt x="47" y="436"/>
                  </a:cubicBezTo>
                  <a:cubicBezTo>
                    <a:pt x="52" y="478"/>
                    <a:pt x="59" y="528"/>
                    <a:pt x="66" y="577"/>
                  </a:cubicBezTo>
                  <a:cubicBezTo>
                    <a:pt x="67" y="578"/>
                    <a:pt x="67" y="580"/>
                    <a:pt x="67" y="581"/>
                  </a:cubicBezTo>
                  <a:cubicBezTo>
                    <a:pt x="68" y="585"/>
                    <a:pt x="68" y="589"/>
                    <a:pt x="69" y="593"/>
                  </a:cubicBezTo>
                  <a:cubicBezTo>
                    <a:pt x="69" y="604"/>
                    <a:pt x="73" y="608"/>
                    <a:pt x="78" y="616"/>
                  </a:cubicBezTo>
                  <a:cubicBezTo>
                    <a:pt x="81" y="619"/>
                    <a:pt x="81" y="619"/>
                    <a:pt x="81" y="619"/>
                  </a:cubicBezTo>
                  <a:cubicBezTo>
                    <a:pt x="83" y="622"/>
                    <a:pt x="85" y="624"/>
                    <a:pt x="88" y="626"/>
                  </a:cubicBezTo>
                  <a:cubicBezTo>
                    <a:pt x="90" y="628"/>
                    <a:pt x="92" y="630"/>
                    <a:pt x="94" y="633"/>
                  </a:cubicBezTo>
                  <a:cubicBezTo>
                    <a:pt x="96" y="635"/>
                    <a:pt x="97" y="637"/>
                    <a:pt x="99" y="639"/>
                  </a:cubicBezTo>
                  <a:cubicBezTo>
                    <a:pt x="105" y="647"/>
                    <a:pt x="109" y="653"/>
                    <a:pt x="120" y="653"/>
                  </a:cubicBezTo>
                  <a:cubicBezTo>
                    <a:pt x="122" y="653"/>
                    <a:pt x="124" y="653"/>
                    <a:pt x="126" y="652"/>
                  </a:cubicBezTo>
                  <a:cubicBezTo>
                    <a:pt x="128" y="652"/>
                    <a:pt x="131" y="651"/>
                    <a:pt x="134" y="651"/>
                  </a:cubicBezTo>
                  <a:cubicBezTo>
                    <a:pt x="138" y="650"/>
                    <a:pt x="145" y="648"/>
                    <a:pt x="149" y="648"/>
                  </a:cubicBezTo>
                  <a:cubicBezTo>
                    <a:pt x="150" y="648"/>
                    <a:pt x="150" y="648"/>
                    <a:pt x="150" y="648"/>
                  </a:cubicBezTo>
                  <a:cubicBezTo>
                    <a:pt x="154" y="648"/>
                    <a:pt x="158" y="651"/>
                    <a:pt x="162" y="654"/>
                  </a:cubicBezTo>
                  <a:cubicBezTo>
                    <a:pt x="164" y="656"/>
                    <a:pt x="166" y="658"/>
                    <a:pt x="169" y="659"/>
                  </a:cubicBezTo>
                  <a:cubicBezTo>
                    <a:pt x="172" y="660"/>
                    <a:pt x="174" y="661"/>
                    <a:pt x="176" y="661"/>
                  </a:cubicBezTo>
                  <a:cubicBezTo>
                    <a:pt x="179" y="661"/>
                    <a:pt x="181" y="660"/>
                    <a:pt x="183" y="658"/>
                  </a:cubicBezTo>
                  <a:cubicBezTo>
                    <a:pt x="184" y="658"/>
                    <a:pt x="184" y="658"/>
                    <a:pt x="184" y="658"/>
                  </a:cubicBezTo>
                  <a:cubicBezTo>
                    <a:pt x="185" y="657"/>
                    <a:pt x="186" y="657"/>
                    <a:pt x="187" y="656"/>
                  </a:cubicBezTo>
                  <a:cubicBezTo>
                    <a:pt x="191" y="654"/>
                    <a:pt x="195" y="653"/>
                    <a:pt x="200" y="652"/>
                  </a:cubicBezTo>
                  <a:cubicBezTo>
                    <a:pt x="200" y="652"/>
                    <a:pt x="200" y="652"/>
                    <a:pt x="200" y="652"/>
                  </a:cubicBezTo>
                  <a:cubicBezTo>
                    <a:pt x="203" y="651"/>
                    <a:pt x="205" y="650"/>
                    <a:pt x="208" y="649"/>
                  </a:cubicBezTo>
                  <a:cubicBezTo>
                    <a:pt x="211" y="648"/>
                    <a:pt x="214" y="647"/>
                    <a:pt x="217" y="647"/>
                  </a:cubicBezTo>
                  <a:cubicBezTo>
                    <a:pt x="218" y="647"/>
                    <a:pt x="218" y="647"/>
                    <a:pt x="219" y="648"/>
                  </a:cubicBezTo>
                  <a:cubicBezTo>
                    <a:pt x="222" y="649"/>
                    <a:pt x="223" y="652"/>
                    <a:pt x="224" y="657"/>
                  </a:cubicBezTo>
                  <a:cubicBezTo>
                    <a:pt x="226" y="661"/>
                    <a:pt x="226" y="661"/>
                    <a:pt x="226" y="661"/>
                  </a:cubicBezTo>
                  <a:cubicBezTo>
                    <a:pt x="226" y="663"/>
                    <a:pt x="227" y="664"/>
                    <a:pt x="227" y="666"/>
                  </a:cubicBezTo>
                  <a:cubicBezTo>
                    <a:pt x="228" y="669"/>
                    <a:pt x="228" y="669"/>
                    <a:pt x="228" y="669"/>
                  </a:cubicBezTo>
                  <a:cubicBezTo>
                    <a:pt x="231" y="668"/>
                    <a:pt x="231" y="668"/>
                    <a:pt x="231" y="668"/>
                  </a:cubicBezTo>
                  <a:cubicBezTo>
                    <a:pt x="234" y="668"/>
                    <a:pt x="238" y="667"/>
                    <a:pt x="241" y="667"/>
                  </a:cubicBezTo>
                  <a:cubicBezTo>
                    <a:pt x="246" y="666"/>
                    <a:pt x="252" y="665"/>
                    <a:pt x="257" y="664"/>
                  </a:cubicBezTo>
                  <a:cubicBezTo>
                    <a:pt x="260" y="663"/>
                    <a:pt x="262" y="662"/>
                    <a:pt x="264" y="661"/>
                  </a:cubicBezTo>
                  <a:cubicBezTo>
                    <a:pt x="267" y="660"/>
                    <a:pt x="269" y="659"/>
                    <a:pt x="271" y="658"/>
                  </a:cubicBezTo>
                  <a:cubicBezTo>
                    <a:pt x="272" y="658"/>
                    <a:pt x="274" y="657"/>
                    <a:pt x="275" y="657"/>
                  </a:cubicBezTo>
                  <a:cubicBezTo>
                    <a:pt x="279" y="656"/>
                    <a:pt x="282" y="655"/>
                    <a:pt x="286" y="655"/>
                  </a:cubicBezTo>
                  <a:cubicBezTo>
                    <a:pt x="291" y="655"/>
                    <a:pt x="296" y="653"/>
                    <a:pt x="301" y="651"/>
                  </a:cubicBezTo>
                  <a:cubicBezTo>
                    <a:pt x="302" y="650"/>
                    <a:pt x="302" y="650"/>
                    <a:pt x="302" y="650"/>
                  </a:cubicBezTo>
                  <a:cubicBezTo>
                    <a:pt x="306" y="648"/>
                    <a:pt x="310" y="646"/>
                    <a:pt x="312" y="640"/>
                  </a:cubicBezTo>
                  <a:cubicBezTo>
                    <a:pt x="312" y="640"/>
                    <a:pt x="312" y="639"/>
                    <a:pt x="313" y="638"/>
                  </a:cubicBezTo>
                  <a:cubicBezTo>
                    <a:pt x="313" y="637"/>
                    <a:pt x="313" y="636"/>
                    <a:pt x="314" y="635"/>
                  </a:cubicBezTo>
                  <a:cubicBezTo>
                    <a:pt x="316" y="633"/>
                    <a:pt x="317" y="632"/>
                    <a:pt x="319" y="631"/>
                  </a:cubicBezTo>
                  <a:cubicBezTo>
                    <a:pt x="322" y="631"/>
                    <a:pt x="325" y="629"/>
                    <a:pt x="327" y="626"/>
                  </a:cubicBezTo>
                  <a:cubicBezTo>
                    <a:pt x="328" y="623"/>
                    <a:pt x="328" y="621"/>
                    <a:pt x="329" y="619"/>
                  </a:cubicBezTo>
                  <a:cubicBezTo>
                    <a:pt x="329" y="617"/>
                    <a:pt x="329" y="615"/>
                    <a:pt x="330" y="613"/>
                  </a:cubicBezTo>
                  <a:cubicBezTo>
                    <a:pt x="332" y="609"/>
                    <a:pt x="333" y="605"/>
                    <a:pt x="333" y="599"/>
                  </a:cubicBezTo>
                  <a:cubicBezTo>
                    <a:pt x="333" y="596"/>
                    <a:pt x="333" y="593"/>
                    <a:pt x="332" y="591"/>
                  </a:cubicBezTo>
                  <a:cubicBezTo>
                    <a:pt x="332" y="589"/>
                    <a:pt x="332" y="587"/>
                    <a:pt x="331" y="585"/>
                  </a:cubicBezTo>
                  <a:cubicBezTo>
                    <a:pt x="331" y="582"/>
                    <a:pt x="332" y="579"/>
                    <a:pt x="333" y="575"/>
                  </a:cubicBezTo>
                  <a:cubicBezTo>
                    <a:pt x="334" y="574"/>
                    <a:pt x="334" y="571"/>
                    <a:pt x="335" y="569"/>
                  </a:cubicBezTo>
                  <a:cubicBezTo>
                    <a:pt x="335" y="567"/>
                    <a:pt x="335" y="565"/>
                    <a:pt x="335" y="562"/>
                  </a:cubicBezTo>
                  <a:cubicBezTo>
                    <a:pt x="334" y="560"/>
                    <a:pt x="334" y="558"/>
                    <a:pt x="335" y="556"/>
                  </a:cubicBezTo>
                  <a:cubicBezTo>
                    <a:pt x="335" y="554"/>
                    <a:pt x="336" y="553"/>
                    <a:pt x="337" y="552"/>
                  </a:cubicBezTo>
                  <a:cubicBezTo>
                    <a:pt x="338" y="550"/>
                    <a:pt x="338" y="548"/>
                    <a:pt x="339" y="546"/>
                  </a:cubicBezTo>
                  <a:cubicBezTo>
                    <a:pt x="339" y="545"/>
                    <a:pt x="340" y="544"/>
                    <a:pt x="340" y="543"/>
                  </a:cubicBezTo>
                  <a:cubicBezTo>
                    <a:pt x="340" y="542"/>
                    <a:pt x="341" y="537"/>
                    <a:pt x="342" y="537"/>
                  </a:cubicBezTo>
                  <a:cubicBezTo>
                    <a:pt x="343" y="537"/>
                    <a:pt x="344" y="538"/>
                    <a:pt x="346" y="538"/>
                  </a:cubicBezTo>
                  <a:cubicBezTo>
                    <a:pt x="348" y="540"/>
                    <a:pt x="348" y="540"/>
                    <a:pt x="348" y="540"/>
                  </a:cubicBezTo>
                  <a:cubicBezTo>
                    <a:pt x="350" y="538"/>
                    <a:pt x="350" y="538"/>
                    <a:pt x="350" y="538"/>
                  </a:cubicBezTo>
                  <a:cubicBezTo>
                    <a:pt x="351" y="536"/>
                    <a:pt x="352" y="535"/>
                    <a:pt x="354" y="534"/>
                  </a:cubicBezTo>
                  <a:cubicBezTo>
                    <a:pt x="355" y="532"/>
                    <a:pt x="357" y="530"/>
                    <a:pt x="358" y="528"/>
                  </a:cubicBezTo>
                  <a:cubicBezTo>
                    <a:pt x="361" y="524"/>
                    <a:pt x="360" y="520"/>
                    <a:pt x="359" y="517"/>
                  </a:cubicBezTo>
                  <a:cubicBezTo>
                    <a:pt x="358" y="514"/>
                    <a:pt x="357" y="511"/>
                    <a:pt x="359" y="509"/>
                  </a:cubicBezTo>
                  <a:cubicBezTo>
                    <a:pt x="361" y="506"/>
                    <a:pt x="376" y="499"/>
                    <a:pt x="379" y="499"/>
                  </a:cubicBezTo>
                  <a:cubicBezTo>
                    <a:pt x="380" y="499"/>
                    <a:pt x="380" y="499"/>
                    <a:pt x="381" y="499"/>
                  </a:cubicBezTo>
                  <a:cubicBezTo>
                    <a:pt x="382" y="499"/>
                    <a:pt x="383" y="499"/>
                    <a:pt x="384" y="500"/>
                  </a:cubicBezTo>
                  <a:cubicBezTo>
                    <a:pt x="384" y="500"/>
                    <a:pt x="385" y="500"/>
                    <a:pt x="386" y="500"/>
                  </a:cubicBezTo>
                  <a:cubicBezTo>
                    <a:pt x="387" y="500"/>
                    <a:pt x="388" y="500"/>
                    <a:pt x="389" y="499"/>
                  </a:cubicBezTo>
                  <a:cubicBezTo>
                    <a:pt x="390" y="499"/>
                    <a:pt x="391" y="498"/>
                    <a:pt x="394" y="495"/>
                  </a:cubicBezTo>
                  <a:cubicBezTo>
                    <a:pt x="395" y="494"/>
                    <a:pt x="396" y="493"/>
                    <a:pt x="397" y="493"/>
                  </a:cubicBezTo>
                  <a:cubicBezTo>
                    <a:pt x="402" y="489"/>
                    <a:pt x="407" y="486"/>
                    <a:pt x="412" y="484"/>
                  </a:cubicBezTo>
                  <a:cubicBezTo>
                    <a:pt x="414" y="484"/>
                    <a:pt x="414" y="484"/>
                    <a:pt x="414" y="484"/>
                  </a:cubicBezTo>
                  <a:cubicBezTo>
                    <a:pt x="414" y="482"/>
                    <a:pt x="414" y="482"/>
                    <a:pt x="414" y="482"/>
                  </a:cubicBezTo>
                  <a:cubicBezTo>
                    <a:pt x="414" y="482"/>
                    <a:pt x="414" y="481"/>
                    <a:pt x="414" y="481"/>
                  </a:cubicBezTo>
                  <a:cubicBezTo>
                    <a:pt x="414" y="481"/>
                    <a:pt x="415" y="481"/>
                    <a:pt x="415" y="481"/>
                  </a:cubicBezTo>
                  <a:cubicBezTo>
                    <a:pt x="416" y="481"/>
                    <a:pt x="417" y="481"/>
                    <a:pt x="417" y="482"/>
                  </a:cubicBezTo>
                  <a:cubicBezTo>
                    <a:pt x="418" y="482"/>
                    <a:pt x="419" y="482"/>
                    <a:pt x="420" y="482"/>
                  </a:cubicBezTo>
                  <a:cubicBezTo>
                    <a:pt x="424" y="482"/>
                    <a:pt x="428" y="481"/>
                    <a:pt x="431" y="480"/>
                  </a:cubicBezTo>
                  <a:cubicBezTo>
                    <a:pt x="436" y="478"/>
                    <a:pt x="438" y="474"/>
                    <a:pt x="440" y="471"/>
                  </a:cubicBezTo>
                  <a:cubicBezTo>
                    <a:pt x="441" y="470"/>
                    <a:pt x="441" y="470"/>
                    <a:pt x="441" y="470"/>
                  </a:cubicBezTo>
                  <a:cubicBezTo>
                    <a:pt x="441" y="469"/>
                    <a:pt x="441" y="469"/>
                    <a:pt x="442" y="468"/>
                  </a:cubicBezTo>
                  <a:cubicBezTo>
                    <a:pt x="442" y="467"/>
                    <a:pt x="443" y="466"/>
                    <a:pt x="444" y="465"/>
                  </a:cubicBezTo>
                  <a:cubicBezTo>
                    <a:pt x="444" y="464"/>
                    <a:pt x="444" y="464"/>
                    <a:pt x="444" y="464"/>
                  </a:cubicBezTo>
                  <a:cubicBezTo>
                    <a:pt x="445" y="463"/>
                    <a:pt x="445" y="462"/>
                    <a:pt x="445" y="461"/>
                  </a:cubicBezTo>
                  <a:cubicBezTo>
                    <a:pt x="446" y="461"/>
                    <a:pt x="446" y="460"/>
                    <a:pt x="447" y="459"/>
                  </a:cubicBezTo>
                  <a:cubicBezTo>
                    <a:pt x="447" y="459"/>
                    <a:pt x="447" y="458"/>
                    <a:pt x="448" y="457"/>
                  </a:cubicBezTo>
                  <a:cubicBezTo>
                    <a:pt x="448" y="457"/>
                    <a:pt x="448" y="457"/>
                    <a:pt x="449" y="456"/>
                  </a:cubicBezTo>
                  <a:cubicBezTo>
                    <a:pt x="449" y="456"/>
                    <a:pt x="450" y="455"/>
                    <a:pt x="450" y="454"/>
                  </a:cubicBezTo>
                  <a:cubicBezTo>
                    <a:pt x="452" y="452"/>
                    <a:pt x="452" y="449"/>
                    <a:pt x="451" y="445"/>
                  </a:cubicBezTo>
                  <a:cubicBezTo>
                    <a:pt x="451" y="442"/>
                    <a:pt x="449" y="439"/>
                    <a:pt x="446" y="436"/>
                  </a:cubicBezTo>
                  <a:cubicBezTo>
                    <a:pt x="442" y="430"/>
                    <a:pt x="435" y="427"/>
                    <a:pt x="427" y="427"/>
                  </a:cubicBezTo>
                  <a:cubicBezTo>
                    <a:pt x="416" y="427"/>
                    <a:pt x="403" y="433"/>
                    <a:pt x="397" y="437"/>
                  </a:cubicBezTo>
                  <a:cubicBezTo>
                    <a:pt x="380" y="446"/>
                    <a:pt x="367" y="460"/>
                    <a:pt x="357" y="471"/>
                  </a:cubicBezTo>
                  <a:cubicBezTo>
                    <a:pt x="347" y="482"/>
                    <a:pt x="339" y="493"/>
                    <a:pt x="333" y="504"/>
                  </a:cubicBezTo>
                  <a:cubicBezTo>
                    <a:pt x="332" y="506"/>
                    <a:pt x="332" y="506"/>
                    <a:pt x="332" y="506"/>
                  </a:cubicBezTo>
                  <a:cubicBezTo>
                    <a:pt x="330" y="510"/>
                    <a:pt x="327" y="515"/>
                    <a:pt x="326" y="520"/>
                  </a:cubicBezTo>
                  <a:cubicBezTo>
                    <a:pt x="324" y="527"/>
                    <a:pt x="322" y="533"/>
                    <a:pt x="319" y="540"/>
                  </a:cubicBezTo>
                  <a:cubicBezTo>
                    <a:pt x="317" y="543"/>
                    <a:pt x="316" y="546"/>
                    <a:pt x="315" y="549"/>
                  </a:cubicBezTo>
                  <a:cubicBezTo>
                    <a:pt x="314" y="554"/>
                    <a:pt x="312" y="558"/>
                    <a:pt x="309" y="562"/>
                  </a:cubicBezTo>
                  <a:cubicBezTo>
                    <a:pt x="309" y="562"/>
                    <a:pt x="309" y="562"/>
                    <a:pt x="309" y="562"/>
                  </a:cubicBezTo>
                  <a:cubicBezTo>
                    <a:pt x="308" y="563"/>
                    <a:pt x="307" y="565"/>
                    <a:pt x="306" y="565"/>
                  </a:cubicBezTo>
                  <a:cubicBezTo>
                    <a:pt x="306" y="566"/>
                    <a:pt x="305" y="566"/>
                    <a:pt x="305" y="566"/>
                  </a:cubicBezTo>
                  <a:cubicBezTo>
                    <a:pt x="303" y="567"/>
                    <a:pt x="302" y="567"/>
                    <a:pt x="301" y="568"/>
                  </a:cubicBezTo>
                  <a:cubicBezTo>
                    <a:pt x="301" y="568"/>
                    <a:pt x="301" y="568"/>
                    <a:pt x="302" y="567"/>
                  </a:cubicBezTo>
                  <a:cubicBezTo>
                    <a:pt x="302" y="567"/>
                    <a:pt x="302" y="566"/>
                    <a:pt x="303" y="566"/>
                  </a:cubicBezTo>
                  <a:cubicBezTo>
                    <a:pt x="303" y="565"/>
                    <a:pt x="303" y="564"/>
                    <a:pt x="304" y="564"/>
                  </a:cubicBezTo>
                  <a:cubicBezTo>
                    <a:pt x="305" y="563"/>
                    <a:pt x="308" y="562"/>
                    <a:pt x="308" y="558"/>
                  </a:cubicBezTo>
                  <a:cubicBezTo>
                    <a:pt x="308" y="557"/>
                    <a:pt x="308" y="556"/>
                    <a:pt x="308" y="554"/>
                  </a:cubicBezTo>
                  <a:cubicBezTo>
                    <a:pt x="308" y="553"/>
                    <a:pt x="308" y="551"/>
                    <a:pt x="308" y="550"/>
                  </a:cubicBezTo>
                  <a:cubicBezTo>
                    <a:pt x="308" y="549"/>
                    <a:pt x="309" y="548"/>
                    <a:pt x="309" y="547"/>
                  </a:cubicBezTo>
                  <a:cubicBezTo>
                    <a:pt x="310" y="545"/>
                    <a:pt x="310" y="543"/>
                    <a:pt x="311" y="541"/>
                  </a:cubicBezTo>
                  <a:cubicBezTo>
                    <a:pt x="312" y="540"/>
                    <a:pt x="312" y="539"/>
                    <a:pt x="312" y="539"/>
                  </a:cubicBezTo>
                  <a:cubicBezTo>
                    <a:pt x="313" y="538"/>
                    <a:pt x="313" y="537"/>
                    <a:pt x="314" y="536"/>
                  </a:cubicBezTo>
                  <a:cubicBezTo>
                    <a:pt x="314" y="536"/>
                    <a:pt x="314" y="536"/>
                    <a:pt x="314" y="536"/>
                  </a:cubicBezTo>
                  <a:cubicBezTo>
                    <a:pt x="315" y="536"/>
                    <a:pt x="316" y="535"/>
                    <a:pt x="316" y="535"/>
                  </a:cubicBezTo>
                  <a:cubicBezTo>
                    <a:pt x="317" y="534"/>
                    <a:pt x="317" y="533"/>
                    <a:pt x="318" y="532"/>
                  </a:cubicBezTo>
                  <a:cubicBezTo>
                    <a:pt x="318" y="532"/>
                    <a:pt x="318" y="532"/>
                    <a:pt x="318" y="532"/>
                  </a:cubicBezTo>
                  <a:cubicBezTo>
                    <a:pt x="320" y="527"/>
                    <a:pt x="320" y="523"/>
                    <a:pt x="321" y="519"/>
                  </a:cubicBezTo>
                  <a:cubicBezTo>
                    <a:pt x="321" y="517"/>
                    <a:pt x="321" y="514"/>
                    <a:pt x="322" y="512"/>
                  </a:cubicBezTo>
                  <a:cubicBezTo>
                    <a:pt x="322" y="510"/>
                    <a:pt x="323" y="509"/>
                    <a:pt x="324" y="507"/>
                  </a:cubicBezTo>
                  <a:cubicBezTo>
                    <a:pt x="325" y="507"/>
                    <a:pt x="325" y="506"/>
                    <a:pt x="325" y="505"/>
                  </a:cubicBezTo>
                  <a:cubicBezTo>
                    <a:pt x="328" y="502"/>
                    <a:pt x="328" y="497"/>
                    <a:pt x="328" y="493"/>
                  </a:cubicBezTo>
                  <a:cubicBezTo>
                    <a:pt x="328" y="491"/>
                    <a:pt x="328" y="489"/>
                    <a:pt x="329" y="486"/>
                  </a:cubicBezTo>
                  <a:cubicBezTo>
                    <a:pt x="331" y="479"/>
                    <a:pt x="335" y="473"/>
                    <a:pt x="339" y="468"/>
                  </a:cubicBezTo>
                  <a:cubicBezTo>
                    <a:pt x="340" y="466"/>
                    <a:pt x="342" y="464"/>
                    <a:pt x="344" y="462"/>
                  </a:cubicBezTo>
                  <a:cubicBezTo>
                    <a:pt x="346" y="460"/>
                    <a:pt x="348" y="458"/>
                    <a:pt x="350" y="457"/>
                  </a:cubicBezTo>
                  <a:cubicBezTo>
                    <a:pt x="352" y="455"/>
                    <a:pt x="354" y="453"/>
                    <a:pt x="356" y="452"/>
                  </a:cubicBezTo>
                  <a:cubicBezTo>
                    <a:pt x="357" y="451"/>
                    <a:pt x="358" y="450"/>
                    <a:pt x="360" y="449"/>
                  </a:cubicBezTo>
                  <a:cubicBezTo>
                    <a:pt x="361" y="449"/>
                    <a:pt x="364" y="447"/>
                    <a:pt x="365" y="444"/>
                  </a:cubicBezTo>
                  <a:cubicBezTo>
                    <a:pt x="365" y="443"/>
                    <a:pt x="365" y="442"/>
                    <a:pt x="365" y="441"/>
                  </a:cubicBezTo>
                  <a:cubicBezTo>
                    <a:pt x="365" y="441"/>
                    <a:pt x="365" y="441"/>
                    <a:pt x="365" y="440"/>
                  </a:cubicBezTo>
                  <a:cubicBezTo>
                    <a:pt x="365" y="439"/>
                    <a:pt x="365" y="437"/>
                    <a:pt x="365" y="435"/>
                  </a:cubicBezTo>
                  <a:cubicBezTo>
                    <a:pt x="365" y="433"/>
                    <a:pt x="365" y="431"/>
                    <a:pt x="365" y="429"/>
                  </a:cubicBezTo>
                  <a:cubicBezTo>
                    <a:pt x="365" y="426"/>
                    <a:pt x="365" y="423"/>
                    <a:pt x="366" y="420"/>
                  </a:cubicBezTo>
                  <a:cubicBezTo>
                    <a:pt x="367" y="416"/>
                    <a:pt x="369" y="413"/>
                    <a:pt x="372" y="411"/>
                  </a:cubicBezTo>
                  <a:cubicBezTo>
                    <a:pt x="373" y="410"/>
                    <a:pt x="373" y="410"/>
                    <a:pt x="373" y="410"/>
                  </a:cubicBezTo>
                  <a:cubicBezTo>
                    <a:pt x="373" y="409"/>
                    <a:pt x="374" y="408"/>
                    <a:pt x="375" y="408"/>
                  </a:cubicBezTo>
                  <a:cubicBezTo>
                    <a:pt x="377" y="407"/>
                    <a:pt x="379" y="407"/>
                    <a:pt x="381" y="406"/>
                  </a:cubicBezTo>
                  <a:cubicBezTo>
                    <a:pt x="383" y="404"/>
                    <a:pt x="385" y="403"/>
                    <a:pt x="388" y="401"/>
                  </a:cubicBezTo>
                  <a:cubicBezTo>
                    <a:pt x="389" y="400"/>
                    <a:pt x="389" y="400"/>
                    <a:pt x="389" y="400"/>
                  </a:cubicBezTo>
                  <a:cubicBezTo>
                    <a:pt x="391" y="399"/>
                    <a:pt x="393" y="398"/>
                    <a:pt x="395" y="397"/>
                  </a:cubicBezTo>
                  <a:cubicBezTo>
                    <a:pt x="396" y="395"/>
                    <a:pt x="396" y="395"/>
                    <a:pt x="397" y="395"/>
                  </a:cubicBezTo>
                  <a:cubicBezTo>
                    <a:pt x="401" y="394"/>
                    <a:pt x="405" y="393"/>
                    <a:pt x="409" y="392"/>
                  </a:cubicBezTo>
                  <a:cubicBezTo>
                    <a:pt x="410" y="391"/>
                    <a:pt x="411" y="391"/>
                    <a:pt x="412" y="390"/>
                  </a:cubicBezTo>
                  <a:cubicBezTo>
                    <a:pt x="413" y="390"/>
                    <a:pt x="413" y="390"/>
                    <a:pt x="414" y="389"/>
                  </a:cubicBezTo>
                  <a:cubicBezTo>
                    <a:pt x="415" y="389"/>
                    <a:pt x="415" y="389"/>
                    <a:pt x="416" y="388"/>
                  </a:cubicBezTo>
                  <a:cubicBezTo>
                    <a:pt x="417" y="388"/>
                    <a:pt x="418" y="388"/>
                    <a:pt x="418" y="387"/>
                  </a:cubicBezTo>
                  <a:cubicBezTo>
                    <a:pt x="419" y="387"/>
                    <a:pt x="420" y="387"/>
                    <a:pt x="421" y="387"/>
                  </a:cubicBezTo>
                  <a:cubicBezTo>
                    <a:pt x="422" y="387"/>
                    <a:pt x="422" y="387"/>
                    <a:pt x="422" y="387"/>
                  </a:cubicBezTo>
                  <a:cubicBezTo>
                    <a:pt x="423" y="386"/>
                    <a:pt x="424" y="386"/>
                    <a:pt x="426" y="386"/>
                  </a:cubicBezTo>
                  <a:cubicBezTo>
                    <a:pt x="428" y="385"/>
                    <a:pt x="429" y="384"/>
                    <a:pt x="431" y="383"/>
                  </a:cubicBezTo>
                  <a:cubicBezTo>
                    <a:pt x="431" y="383"/>
                    <a:pt x="432" y="383"/>
                    <a:pt x="432" y="382"/>
                  </a:cubicBezTo>
                  <a:cubicBezTo>
                    <a:pt x="433" y="382"/>
                    <a:pt x="434" y="383"/>
                    <a:pt x="435" y="383"/>
                  </a:cubicBezTo>
                  <a:cubicBezTo>
                    <a:pt x="435" y="383"/>
                    <a:pt x="436" y="383"/>
                    <a:pt x="436" y="383"/>
                  </a:cubicBezTo>
                  <a:cubicBezTo>
                    <a:pt x="439" y="383"/>
                    <a:pt x="442" y="381"/>
                    <a:pt x="444" y="380"/>
                  </a:cubicBezTo>
                  <a:cubicBezTo>
                    <a:pt x="445" y="380"/>
                    <a:pt x="447" y="379"/>
                    <a:pt x="449" y="377"/>
                  </a:cubicBezTo>
                  <a:cubicBezTo>
                    <a:pt x="449" y="377"/>
                    <a:pt x="450" y="376"/>
                    <a:pt x="450" y="376"/>
                  </a:cubicBezTo>
                  <a:cubicBezTo>
                    <a:pt x="450" y="376"/>
                    <a:pt x="450" y="375"/>
                    <a:pt x="451" y="375"/>
                  </a:cubicBezTo>
                  <a:cubicBezTo>
                    <a:pt x="451" y="375"/>
                    <a:pt x="451" y="375"/>
                    <a:pt x="452" y="375"/>
                  </a:cubicBezTo>
                  <a:cubicBezTo>
                    <a:pt x="453" y="375"/>
                    <a:pt x="453" y="375"/>
                    <a:pt x="454" y="375"/>
                  </a:cubicBezTo>
                  <a:cubicBezTo>
                    <a:pt x="455" y="374"/>
                    <a:pt x="455" y="374"/>
                    <a:pt x="456" y="374"/>
                  </a:cubicBezTo>
                  <a:cubicBezTo>
                    <a:pt x="457" y="373"/>
                    <a:pt x="458" y="373"/>
                    <a:pt x="459" y="373"/>
                  </a:cubicBezTo>
                  <a:cubicBezTo>
                    <a:pt x="460" y="372"/>
                    <a:pt x="461" y="372"/>
                    <a:pt x="463" y="371"/>
                  </a:cubicBezTo>
                  <a:cubicBezTo>
                    <a:pt x="463" y="371"/>
                    <a:pt x="464" y="371"/>
                    <a:pt x="464" y="370"/>
                  </a:cubicBezTo>
                  <a:cubicBezTo>
                    <a:pt x="465" y="370"/>
                    <a:pt x="465" y="370"/>
                    <a:pt x="466" y="370"/>
                  </a:cubicBezTo>
                  <a:cubicBezTo>
                    <a:pt x="467" y="370"/>
                    <a:pt x="468" y="369"/>
                    <a:pt x="469" y="369"/>
                  </a:cubicBezTo>
                  <a:cubicBezTo>
                    <a:pt x="469" y="369"/>
                    <a:pt x="470" y="368"/>
                    <a:pt x="471" y="368"/>
                  </a:cubicBezTo>
                  <a:cubicBezTo>
                    <a:pt x="472" y="368"/>
                    <a:pt x="472" y="368"/>
                    <a:pt x="472" y="368"/>
                  </a:cubicBezTo>
                  <a:cubicBezTo>
                    <a:pt x="473" y="367"/>
                    <a:pt x="474" y="367"/>
                    <a:pt x="475" y="366"/>
                  </a:cubicBezTo>
                  <a:cubicBezTo>
                    <a:pt x="476" y="366"/>
                    <a:pt x="476" y="365"/>
                    <a:pt x="477" y="365"/>
                  </a:cubicBezTo>
                  <a:cubicBezTo>
                    <a:pt x="477" y="365"/>
                    <a:pt x="477" y="365"/>
                    <a:pt x="477" y="365"/>
                  </a:cubicBezTo>
                  <a:cubicBezTo>
                    <a:pt x="478" y="365"/>
                    <a:pt x="479" y="365"/>
                    <a:pt x="480" y="366"/>
                  </a:cubicBezTo>
                  <a:cubicBezTo>
                    <a:pt x="481" y="366"/>
                    <a:pt x="482" y="366"/>
                    <a:pt x="484" y="366"/>
                  </a:cubicBezTo>
                  <a:cubicBezTo>
                    <a:pt x="485" y="366"/>
                    <a:pt x="486" y="366"/>
                    <a:pt x="486" y="366"/>
                  </a:cubicBezTo>
                  <a:cubicBezTo>
                    <a:pt x="489" y="365"/>
                    <a:pt x="491" y="363"/>
                    <a:pt x="492" y="361"/>
                  </a:cubicBezTo>
                  <a:cubicBezTo>
                    <a:pt x="493" y="361"/>
                    <a:pt x="493" y="361"/>
                    <a:pt x="493" y="361"/>
                  </a:cubicBezTo>
                  <a:cubicBezTo>
                    <a:pt x="495" y="359"/>
                    <a:pt x="497" y="357"/>
                    <a:pt x="499" y="356"/>
                  </a:cubicBezTo>
                  <a:cubicBezTo>
                    <a:pt x="499" y="356"/>
                    <a:pt x="500" y="356"/>
                    <a:pt x="501" y="355"/>
                  </a:cubicBezTo>
                  <a:cubicBezTo>
                    <a:pt x="502" y="355"/>
                    <a:pt x="503" y="355"/>
                    <a:pt x="504" y="354"/>
                  </a:cubicBezTo>
                  <a:cubicBezTo>
                    <a:pt x="505" y="353"/>
                    <a:pt x="506" y="352"/>
                    <a:pt x="507" y="351"/>
                  </a:cubicBezTo>
                  <a:cubicBezTo>
                    <a:pt x="508" y="350"/>
                    <a:pt x="510" y="349"/>
                    <a:pt x="511" y="349"/>
                  </a:cubicBezTo>
                  <a:cubicBezTo>
                    <a:pt x="512" y="348"/>
                    <a:pt x="513" y="348"/>
                    <a:pt x="514" y="348"/>
                  </a:cubicBezTo>
                  <a:cubicBezTo>
                    <a:pt x="516" y="348"/>
                    <a:pt x="517" y="348"/>
                    <a:pt x="519" y="348"/>
                  </a:cubicBezTo>
                  <a:cubicBezTo>
                    <a:pt x="523" y="346"/>
                    <a:pt x="523" y="343"/>
                    <a:pt x="524" y="341"/>
                  </a:cubicBezTo>
                  <a:cubicBezTo>
                    <a:pt x="524" y="341"/>
                    <a:pt x="524" y="339"/>
                    <a:pt x="524" y="338"/>
                  </a:cubicBezTo>
                  <a:cubicBezTo>
                    <a:pt x="524" y="337"/>
                    <a:pt x="524" y="336"/>
                    <a:pt x="524" y="335"/>
                  </a:cubicBezTo>
                  <a:cubicBezTo>
                    <a:pt x="525" y="332"/>
                    <a:pt x="526" y="329"/>
                    <a:pt x="527" y="326"/>
                  </a:cubicBezTo>
                  <a:cubicBezTo>
                    <a:pt x="528" y="323"/>
                    <a:pt x="529" y="321"/>
                    <a:pt x="530" y="318"/>
                  </a:cubicBezTo>
                  <a:cubicBezTo>
                    <a:pt x="531" y="315"/>
                    <a:pt x="532" y="313"/>
                    <a:pt x="532" y="311"/>
                  </a:cubicBezTo>
                  <a:cubicBezTo>
                    <a:pt x="532" y="309"/>
                    <a:pt x="532" y="309"/>
                    <a:pt x="532" y="309"/>
                  </a:cubicBezTo>
                  <a:cubicBezTo>
                    <a:pt x="533" y="308"/>
                    <a:pt x="533" y="307"/>
                    <a:pt x="533" y="306"/>
                  </a:cubicBezTo>
                  <a:cubicBezTo>
                    <a:pt x="534" y="305"/>
                    <a:pt x="534" y="304"/>
                    <a:pt x="534" y="303"/>
                  </a:cubicBezTo>
                  <a:cubicBezTo>
                    <a:pt x="535" y="301"/>
                    <a:pt x="535" y="300"/>
                    <a:pt x="535" y="298"/>
                  </a:cubicBezTo>
                  <a:cubicBezTo>
                    <a:pt x="535" y="297"/>
                    <a:pt x="536" y="296"/>
                    <a:pt x="536" y="295"/>
                  </a:cubicBezTo>
                  <a:cubicBezTo>
                    <a:pt x="536" y="295"/>
                    <a:pt x="536" y="294"/>
                    <a:pt x="536" y="293"/>
                  </a:cubicBezTo>
                  <a:cubicBezTo>
                    <a:pt x="536" y="291"/>
                    <a:pt x="537" y="290"/>
                    <a:pt x="538" y="289"/>
                  </a:cubicBezTo>
                  <a:cubicBezTo>
                    <a:pt x="539" y="288"/>
                    <a:pt x="540" y="287"/>
                    <a:pt x="541" y="287"/>
                  </a:cubicBezTo>
                  <a:cubicBezTo>
                    <a:pt x="544" y="286"/>
                    <a:pt x="545" y="283"/>
                    <a:pt x="547" y="281"/>
                  </a:cubicBezTo>
                  <a:cubicBezTo>
                    <a:pt x="547" y="281"/>
                    <a:pt x="547" y="280"/>
                    <a:pt x="547" y="280"/>
                  </a:cubicBezTo>
                  <a:cubicBezTo>
                    <a:pt x="549" y="277"/>
                    <a:pt x="551" y="274"/>
                    <a:pt x="553" y="272"/>
                  </a:cubicBezTo>
                  <a:cubicBezTo>
                    <a:pt x="555" y="270"/>
                    <a:pt x="557" y="269"/>
                    <a:pt x="559" y="267"/>
                  </a:cubicBezTo>
                  <a:cubicBezTo>
                    <a:pt x="562" y="266"/>
                    <a:pt x="562" y="266"/>
                    <a:pt x="562" y="266"/>
                  </a:cubicBezTo>
                  <a:lnTo>
                    <a:pt x="551" y="246"/>
                  </a:ln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9" name="Freeform 68"/>
            <p:cNvSpPr>
              <a:spLocks/>
            </p:cNvSpPr>
            <p:nvPr/>
          </p:nvSpPr>
          <p:spPr bwMode="auto">
            <a:xfrm>
              <a:off x="19398486" y="8148830"/>
              <a:ext cx="82070" cy="78396"/>
            </a:xfrm>
            <a:custGeom>
              <a:avLst/>
              <a:gdLst>
                <a:gd name="T0" fmla="*/ 13 w 15"/>
                <a:gd name="T1" fmla="*/ 2 h 16"/>
                <a:gd name="T2" fmla="*/ 9 w 15"/>
                <a:gd name="T3" fmla="*/ 0 h 16"/>
                <a:gd name="T4" fmla="*/ 5 w 15"/>
                <a:gd name="T5" fmla="*/ 0 h 16"/>
                <a:gd name="T6" fmla="*/ 0 w 15"/>
                <a:gd name="T7" fmla="*/ 8 h 16"/>
                <a:gd name="T8" fmla="*/ 5 w 15"/>
                <a:gd name="T9" fmla="*/ 15 h 16"/>
                <a:gd name="T10" fmla="*/ 8 w 15"/>
                <a:gd name="T11" fmla="*/ 16 h 16"/>
                <a:gd name="T12" fmla="*/ 15 w 15"/>
                <a:gd name="T13" fmla="*/ 8 h 16"/>
                <a:gd name="T14" fmla="*/ 13 w 15"/>
                <a:gd name="T15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6">
                  <a:moveTo>
                    <a:pt x="13" y="2"/>
                  </a:moveTo>
                  <a:cubicBezTo>
                    <a:pt x="12" y="0"/>
                    <a:pt x="10" y="0"/>
                    <a:pt x="9" y="0"/>
                  </a:cubicBezTo>
                  <a:cubicBezTo>
                    <a:pt x="8" y="0"/>
                    <a:pt x="7" y="0"/>
                    <a:pt x="5" y="0"/>
                  </a:cubicBezTo>
                  <a:cubicBezTo>
                    <a:pt x="2" y="2"/>
                    <a:pt x="0" y="5"/>
                    <a:pt x="0" y="8"/>
                  </a:cubicBezTo>
                  <a:cubicBezTo>
                    <a:pt x="0" y="11"/>
                    <a:pt x="2" y="14"/>
                    <a:pt x="5" y="15"/>
                  </a:cubicBezTo>
                  <a:cubicBezTo>
                    <a:pt x="6" y="16"/>
                    <a:pt x="7" y="16"/>
                    <a:pt x="8" y="16"/>
                  </a:cubicBezTo>
                  <a:cubicBezTo>
                    <a:pt x="11" y="16"/>
                    <a:pt x="14" y="14"/>
                    <a:pt x="15" y="8"/>
                  </a:cubicBezTo>
                  <a:cubicBezTo>
                    <a:pt x="15" y="6"/>
                    <a:pt x="15" y="3"/>
                    <a:pt x="13" y="2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0" name="Freeform 73"/>
            <p:cNvSpPr>
              <a:spLocks/>
            </p:cNvSpPr>
            <p:nvPr/>
          </p:nvSpPr>
          <p:spPr bwMode="auto">
            <a:xfrm>
              <a:off x="18684477" y="4790871"/>
              <a:ext cx="77966" cy="59730"/>
            </a:xfrm>
            <a:custGeom>
              <a:avLst/>
              <a:gdLst>
                <a:gd name="T0" fmla="*/ 7 w 14"/>
                <a:gd name="T1" fmla="*/ 0 h 12"/>
                <a:gd name="T2" fmla="*/ 1 w 14"/>
                <a:gd name="T3" fmla="*/ 3 h 12"/>
                <a:gd name="T4" fmla="*/ 3 w 14"/>
                <a:gd name="T5" fmla="*/ 9 h 12"/>
                <a:gd name="T6" fmla="*/ 7 w 14"/>
                <a:gd name="T7" fmla="*/ 11 h 12"/>
                <a:gd name="T8" fmla="*/ 9 w 14"/>
                <a:gd name="T9" fmla="*/ 12 h 12"/>
                <a:gd name="T10" fmla="*/ 9 w 14"/>
                <a:gd name="T11" fmla="*/ 12 h 12"/>
                <a:gd name="T12" fmla="*/ 13 w 14"/>
                <a:gd name="T13" fmla="*/ 10 h 12"/>
                <a:gd name="T14" fmla="*/ 14 w 14"/>
                <a:gd name="T15" fmla="*/ 6 h 12"/>
                <a:gd name="T16" fmla="*/ 7 w 14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12">
                  <a:moveTo>
                    <a:pt x="7" y="0"/>
                  </a:moveTo>
                  <a:cubicBezTo>
                    <a:pt x="4" y="0"/>
                    <a:pt x="2" y="1"/>
                    <a:pt x="1" y="3"/>
                  </a:cubicBezTo>
                  <a:cubicBezTo>
                    <a:pt x="1" y="4"/>
                    <a:pt x="0" y="6"/>
                    <a:pt x="3" y="9"/>
                  </a:cubicBezTo>
                  <a:cubicBezTo>
                    <a:pt x="4" y="10"/>
                    <a:pt x="5" y="10"/>
                    <a:pt x="7" y="11"/>
                  </a:cubicBezTo>
                  <a:cubicBezTo>
                    <a:pt x="8" y="11"/>
                    <a:pt x="9" y="12"/>
                    <a:pt x="9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11" y="12"/>
                    <a:pt x="12" y="11"/>
                    <a:pt x="13" y="10"/>
                  </a:cubicBezTo>
                  <a:cubicBezTo>
                    <a:pt x="14" y="9"/>
                    <a:pt x="14" y="8"/>
                    <a:pt x="14" y="6"/>
                  </a:cubicBezTo>
                  <a:cubicBezTo>
                    <a:pt x="14" y="2"/>
                    <a:pt x="11" y="0"/>
                    <a:pt x="7" y="0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1" name="Freeform 74"/>
            <p:cNvSpPr>
              <a:spLocks/>
            </p:cNvSpPr>
            <p:nvPr/>
          </p:nvSpPr>
          <p:spPr bwMode="auto">
            <a:xfrm>
              <a:off x="18298748" y="5138053"/>
              <a:ext cx="82070" cy="134393"/>
            </a:xfrm>
            <a:custGeom>
              <a:avLst/>
              <a:gdLst>
                <a:gd name="T0" fmla="*/ 15 w 15"/>
                <a:gd name="T1" fmla="*/ 7 h 27"/>
                <a:gd name="T2" fmla="*/ 8 w 15"/>
                <a:gd name="T3" fmla="*/ 0 h 27"/>
                <a:gd name="T4" fmla="*/ 7 w 15"/>
                <a:gd name="T5" fmla="*/ 0 h 27"/>
                <a:gd name="T6" fmla="*/ 2 w 15"/>
                <a:gd name="T7" fmla="*/ 6 h 27"/>
                <a:gd name="T8" fmla="*/ 1 w 15"/>
                <a:gd name="T9" fmla="*/ 7 h 27"/>
                <a:gd name="T10" fmla="*/ 1 w 15"/>
                <a:gd name="T11" fmla="*/ 8 h 27"/>
                <a:gd name="T12" fmla="*/ 0 w 15"/>
                <a:gd name="T13" fmla="*/ 13 h 27"/>
                <a:gd name="T14" fmla="*/ 0 w 15"/>
                <a:gd name="T15" fmla="*/ 15 h 27"/>
                <a:gd name="T16" fmla="*/ 3 w 15"/>
                <a:gd name="T17" fmla="*/ 25 h 27"/>
                <a:gd name="T18" fmla="*/ 7 w 15"/>
                <a:gd name="T19" fmla="*/ 27 h 27"/>
                <a:gd name="T20" fmla="*/ 10 w 15"/>
                <a:gd name="T21" fmla="*/ 25 h 27"/>
                <a:gd name="T22" fmla="*/ 15 w 15"/>
                <a:gd name="T23" fmla="*/ 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" h="27">
                  <a:moveTo>
                    <a:pt x="15" y="7"/>
                  </a:moveTo>
                  <a:cubicBezTo>
                    <a:pt x="14" y="4"/>
                    <a:pt x="12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2" y="4"/>
                    <a:pt x="2" y="6"/>
                  </a:cubicBezTo>
                  <a:cubicBezTo>
                    <a:pt x="2" y="6"/>
                    <a:pt x="2" y="7"/>
                    <a:pt x="1" y="7"/>
                  </a:cubicBezTo>
                  <a:cubicBezTo>
                    <a:pt x="1" y="7"/>
                    <a:pt x="1" y="8"/>
                    <a:pt x="1" y="8"/>
                  </a:cubicBezTo>
                  <a:cubicBezTo>
                    <a:pt x="1" y="9"/>
                    <a:pt x="0" y="11"/>
                    <a:pt x="0" y="13"/>
                  </a:cubicBezTo>
                  <a:cubicBezTo>
                    <a:pt x="0" y="14"/>
                    <a:pt x="0" y="14"/>
                    <a:pt x="0" y="15"/>
                  </a:cubicBezTo>
                  <a:cubicBezTo>
                    <a:pt x="1" y="20"/>
                    <a:pt x="1" y="23"/>
                    <a:pt x="3" y="25"/>
                  </a:cubicBezTo>
                  <a:cubicBezTo>
                    <a:pt x="4" y="26"/>
                    <a:pt x="5" y="27"/>
                    <a:pt x="7" y="27"/>
                  </a:cubicBezTo>
                  <a:cubicBezTo>
                    <a:pt x="8" y="27"/>
                    <a:pt x="9" y="26"/>
                    <a:pt x="10" y="25"/>
                  </a:cubicBezTo>
                  <a:cubicBezTo>
                    <a:pt x="14" y="21"/>
                    <a:pt x="15" y="9"/>
                    <a:pt x="15" y="7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2" name="Freeform 75"/>
            <p:cNvSpPr>
              <a:spLocks/>
            </p:cNvSpPr>
            <p:nvPr/>
          </p:nvSpPr>
          <p:spPr bwMode="auto">
            <a:xfrm>
              <a:off x="15851012" y="3486139"/>
              <a:ext cx="769406" cy="625301"/>
            </a:xfrm>
            <a:custGeom>
              <a:avLst/>
              <a:gdLst>
                <a:gd name="T0" fmla="*/ 136 w 141"/>
                <a:gd name="T1" fmla="*/ 61 h 126"/>
                <a:gd name="T2" fmla="*/ 132 w 141"/>
                <a:gd name="T3" fmla="*/ 44 h 126"/>
                <a:gd name="T4" fmla="*/ 115 w 141"/>
                <a:gd name="T5" fmla="*/ 36 h 126"/>
                <a:gd name="T6" fmla="*/ 106 w 141"/>
                <a:gd name="T7" fmla="*/ 30 h 126"/>
                <a:gd name="T8" fmla="*/ 99 w 141"/>
                <a:gd name="T9" fmla="*/ 14 h 126"/>
                <a:gd name="T10" fmla="*/ 84 w 141"/>
                <a:gd name="T11" fmla="*/ 8 h 126"/>
                <a:gd name="T12" fmla="*/ 70 w 141"/>
                <a:gd name="T13" fmla="*/ 2 h 126"/>
                <a:gd name="T14" fmla="*/ 61 w 141"/>
                <a:gd name="T15" fmla="*/ 1 h 126"/>
                <a:gd name="T16" fmla="*/ 56 w 141"/>
                <a:gd name="T17" fmla="*/ 8 h 126"/>
                <a:gd name="T18" fmla="*/ 55 w 141"/>
                <a:gd name="T19" fmla="*/ 20 h 126"/>
                <a:gd name="T20" fmla="*/ 49 w 141"/>
                <a:gd name="T21" fmla="*/ 33 h 126"/>
                <a:gd name="T22" fmla="*/ 38 w 141"/>
                <a:gd name="T23" fmla="*/ 40 h 126"/>
                <a:gd name="T24" fmla="*/ 33 w 141"/>
                <a:gd name="T25" fmla="*/ 45 h 126"/>
                <a:gd name="T26" fmla="*/ 32 w 141"/>
                <a:gd name="T27" fmla="*/ 48 h 126"/>
                <a:gd name="T28" fmla="*/ 25 w 141"/>
                <a:gd name="T29" fmla="*/ 50 h 126"/>
                <a:gd name="T30" fmla="*/ 21 w 141"/>
                <a:gd name="T31" fmla="*/ 57 h 126"/>
                <a:gd name="T32" fmla="*/ 14 w 141"/>
                <a:gd name="T33" fmla="*/ 60 h 126"/>
                <a:gd name="T34" fmla="*/ 9 w 141"/>
                <a:gd name="T35" fmla="*/ 64 h 126"/>
                <a:gd name="T36" fmla="*/ 4 w 141"/>
                <a:gd name="T37" fmla="*/ 81 h 126"/>
                <a:gd name="T38" fmla="*/ 6 w 141"/>
                <a:gd name="T39" fmla="*/ 85 h 126"/>
                <a:gd name="T40" fmla="*/ 10 w 141"/>
                <a:gd name="T41" fmla="*/ 92 h 126"/>
                <a:gd name="T42" fmla="*/ 13 w 141"/>
                <a:gd name="T43" fmla="*/ 103 h 126"/>
                <a:gd name="T44" fmla="*/ 8 w 141"/>
                <a:gd name="T45" fmla="*/ 121 h 126"/>
                <a:gd name="T46" fmla="*/ 17 w 141"/>
                <a:gd name="T47" fmla="*/ 126 h 126"/>
                <a:gd name="T48" fmla="*/ 23 w 141"/>
                <a:gd name="T49" fmla="*/ 125 h 126"/>
                <a:gd name="T50" fmla="*/ 28 w 141"/>
                <a:gd name="T51" fmla="*/ 124 h 126"/>
                <a:gd name="T52" fmla="*/ 36 w 141"/>
                <a:gd name="T53" fmla="*/ 123 h 126"/>
                <a:gd name="T54" fmla="*/ 44 w 141"/>
                <a:gd name="T55" fmla="*/ 126 h 126"/>
                <a:gd name="T56" fmla="*/ 54 w 141"/>
                <a:gd name="T57" fmla="*/ 119 h 126"/>
                <a:gd name="T58" fmla="*/ 59 w 141"/>
                <a:gd name="T59" fmla="*/ 112 h 126"/>
                <a:gd name="T60" fmla="*/ 67 w 141"/>
                <a:gd name="T61" fmla="*/ 104 h 126"/>
                <a:gd name="T62" fmla="*/ 73 w 141"/>
                <a:gd name="T63" fmla="*/ 105 h 126"/>
                <a:gd name="T64" fmla="*/ 85 w 141"/>
                <a:gd name="T65" fmla="*/ 95 h 126"/>
                <a:gd name="T66" fmla="*/ 94 w 141"/>
                <a:gd name="T67" fmla="*/ 93 h 126"/>
                <a:gd name="T68" fmla="*/ 102 w 141"/>
                <a:gd name="T69" fmla="*/ 91 h 126"/>
                <a:gd name="T70" fmla="*/ 111 w 141"/>
                <a:gd name="T71" fmla="*/ 88 h 126"/>
                <a:gd name="T72" fmla="*/ 118 w 141"/>
                <a:gd name="T73" fmla="*/ 86 h 126"/>
                <a:gd name="T74" fmla="*/ 123 w 141"/>
                <a:gd name="T75" fmla="*/ 86 h 126"/>
                <a:gd name="T76" fmla="*/ 140 w 141"/>
                <a:gd name="T77" fmla="*/ 79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41" h="126">
                  <a:moveTo>
                    <a:pt x="137" y="64"/>
                  </a:moveTo>
                  <a:cubicBezTo>
                    <a:pt x="137" y="63"/>
                    <a:pt x="136" y="62"/>
                    <a:pt x="136" y="61"/>
                  </a:cubicBezTo>
                  <a:cubicBezTo>
                    <a:pt x="135" y="59"/>
                    <a:pt x="135" y="56"/>
                    <a:pt x="135" y="54"/>
                  </a:cubicBezTo>
                  <a:cubicBezTo>
                    <a:pt x="134" y="51"/>
                    <a:pt x="134" y="47"/>
                    <a:pt x="132" y="44"/>
                  </a:cubicBezTo>
                  <a:cubicBezTo>
                    <a:pt x="129" y="37"/>
                    <a:pt x="122" y="36"/>
                    <a:pt x="117" y="36"/>
                  </a:cubicBezTo>
                  <a:cubicBezTo>
                    <a:pt x="116" y="36"/>
                    <a:pt x="116" y="36"/>
                    <a:pt x="115" y="36"/>
                  </a:cubicBezTo>
                  <a:cubicBezTo>
                    <a:pt x="114" y="36"/>
                    <a:pt x="114" y="36"/>
                    <a:pt x="113" y="36"/>
                  </a:cubicBezTo>
                  <a:cubicBezTo>
                    <a:pt x="110" y="36"/>
                    <a:pt x="108" y="35"/>
                    <a:pt x="106" y="30"/>
                  </a:cubicBezTo>
                  <a:cubicBezTo>
                    <a:pt x="105" y="28"/>
                    <a:pt x="104" y="27"/>
                    <a:pt x="103" y="25"/>
                  </a:cubicBezTo>
                  <a:cubicBezTo>
                    <a:pt x="102" y="21"/>
                    <a:pt x="100" y="18"/>
                    <a:pt x="99" y="14"/>
                  </a:cubicBezTo>
                  <a:cubicBezTo>
                    <a:pt x="97" y="11"/>
                    <a:pt x="92" y="10"/>
                    <a:pt x="88" y="9"/>
                  </a:cubicBezTo>
                  <a:cubicBezTo>
                    <a:pt x="87" y="8"/>
                    <a:pt x="85" y="8"/>
                    <a:pt x="84" y="8"/>
                  </a:cubicBezTo>
                  <a:cubicBezTo>
                    <a:pt x="82" y="7"/>
                    <a:pt x="80" y="6"/>
                    <a:pt x="78" y="5"/>
                  </a:cubicBezTo>
                  <a:cubicBezTo>
                    <a:pt x="76" y="4"/>
                    <a:pt x="73" y="3"/>
                    <a:pt x="70" y="2"/>
                  </a:cubicBezTo>
                  <a:cubicBezTo>
                    <a:pt x="68" y="1"/>
                    <a:pt x="66" y="0"/>
                    <a:pt x="63" y="0"/>
                  </a:cubicBezTo>
                  <a:cubicBezTo>
                    <a:pt x="62" y="0"/>
                    <a:pt x="61" y="1"/>
                    <a:pt x="61" y="1"/>
                  </a:cubicBezTo>
                  <a:cubicBezTo>
                    <a:pt x="57" y="2"/>
                    <a:pt x="56" y="5"/>
                    <a:pt x="56" y="7"/>
                  </a:cubicBezTo>
                  <a:cubicBezTo>
                    <a:pt x="56" y="7"/>
                    <a:pt x="56" y="8"/>
                    <a:pt x="56" y="8"/>
                  </a:cubicBezTo>
                  <a:cubicBezTo>
                    <a:pt x="55" y="11"/>
                    <a:pt x="55" y="14"/>
                    <a:pt x="56" y="16"/>
                  </a:cubicBezTo>
                  <a:cubicBezTo>
                    <a:pt x="56" y="18"/>
                    <a:pt x="55" y="19"/>
                    <a:pt x="55" y="20"/>
                  </a:cubicBezTo>
                  <a:cubicBezTo>
                    <a:pt x="55" y="22"/>
                    <a:pt x="55" y="23"/>
                    <a:pt x="54" y="24"/>
                  </a:cubicBezTo>
                  <a:cubicBezTo>
                    <a:pt x="54" y="27"/>
                    <a:pt x="51" y="31"/>
                    <a:pt x="49" y="33"/>
                  </a:cubicBezTo>
                  <a:cubicBezTo>
                    <a:pt x="47" y="34"/>
                    <a:pt x="45" y="35"/>
                    <a:pt x="44" y="36"/>
                  </a:cubicBezTo>
                  <a:cubicBezTo>
                    <a:pt x="42" y="37"/>
                    <a:pt x="40" y="39"/>
                    <a:pt x="38" y="40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36" y="42"/>
                    <a:pt x="34" y="43"/>
                    <a:pt x="33" y="45"/>
                  </a:cubicBezTo>
                  <a:cubicBezTo>
                    <a:pt x="33" y="46"/>
                    <a:pt x="33" y="46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9"/>
                    <a:pt x="31" y="49"/>
                    <a:pt x="30" y="49"/>
                  </a:cubicBezTo>
                  <a:cubicBezTo>
                    <a:pt x="29" y="49"/>
                    <a:pt x="27" y="49"/>
                    <a:pt x="25" y="50"/>
                  </a:cubicBezTo>
                  <a:cubicBezTo>
                    <a:pt x="24" y="51"/>
                    <a:pt x="23" y="53"/>
                    <a:pt x="22" y="55"/>
                  </a:cubicBezTo>
                  <a:cubicBezTo>
                    <a:pt x="21" y="55"/>
                    <a:pt x="21" y="56"/>
                    <a:pt x="21" y="57"/>
                  </a:cubicBezTo>
                  <a:cubicBezTo>
                    <a:pt x="20" y="57"/>
                    <a:pt x="19" y="58"/>
                    <a:pt x="18" y="58"/>
                  </a:cubicBezTo>
                  <a:cubicBezTo>
                    <a:pt x="17" y="59"/>
                    <a:pt x="16" y="59"/>
                    <a:pt x="14" y="60"/>
                  </a:cubicBezTo>
                  <a:cubicBezTo>
                    <a:pt x="13" y="61"/>
                    <a:pt x="12" y="61"/>
                    <a:pt x="11" y="62"/>
                  </a:cubicBezTo>
                  <a:cubicBezTo>
                    <a:pt x="10" y="63"/>
                    <a:pt x="9" y="63"/>
                    <a:pt x="9" y="64"/>
                  </a:cubicBezTo>
                  <a:cubicBezTo>
                    <a:pt x="5" y="66"/>
                    <a:pt x="1" y="69"/>
                    <a:pt x="0" y="75"/>
                  </a:cubicBezTo>
                  <a:cubicBezTo>
                    <a:pt x="0" y="79"/>
                    <a:pt x="2" y="81"/>
                    <a:pt x="4" y="81"/>
                  </a:cubicBezTo>
                  <a:cubicBezTo>
                    <a:pt x="5" y="82"/>
                    <a:pt x="5" y="82"/>
                    <a:pt x="5" y="83"/>
                  </a:cubicBezTo>
                  <a:cubicBezTo>
                    <a:pt x="6" y="83"/>
                    <a:pt x="6" y="84"/>
                    <a:pt x="6" y="85"/>
                  </a:cubicBezTo>
                  <a:cubicBezTo>
                    <a:pt x="6" y="86"/>
                    <a:pt x="6" y="87"/>
                    <a:pt x="7" y="89"/>
                  </a:cubicBezTo>
                  <a:cubicBezTo>
                    <a:pt x="8" y="90"/>
                    <a:pt x="9" y="91"/>
                    <a:pt x="10" y="92"/>
                  </a:cubicBezTo>
                  <a:cubicBezTo>
                    <a:pt x="10" y="93"/>
                    <a:pt x="10" y="93"/>
                    <a:pt x="11" y="93"/>
                  </a:cubicBezTo>
                  <a:cubicBezTo>
                    <a:pt x="13" y="97"/>
                    <a:pt x="14" y="100"/>
                    <a:pt x="13" y="103"/>
                  </a:cubicBezTo>
                  <a:cubicBezTo>
                    <a:pt x="13" y="106"/>
                    <a:pt x="12" y="110"/>
                    <a:pt x="10" y="113"/>
                  </a:cubicBezTo>
                  <a:cubicBezTo>
                    <a:pt x="9" y="115"/>
                    <a:pt x="7" y="118"/>
                    <a:pt x="8" y="121"/>
                  </a:cubicBezTo>
                  <a:cubicBezTo>
                    <a:pt x="9" y="122"/>
                    <a:pt x="10" y="124"/>
                    <a:pt x="12" y="125"/>
                  </a:cubicBezTo>
                  <a:cubicBezTo>
                    <a:pt x="13" y="126"/>
                    <a:pt x="15" y="126"/>
                    <a:pt x="17" y="126"/>
                  </a:cubicBezTo>
                  <a:cubicBezTo>
                    <a:pt x="17" y="126"/>
                    <a:pt x="17" y="126"/>
                    <a:pt x="17" y="126"/>
                  </a:cubicBezTo>
                  <a:cubicBezTo>
                    <a:pt x="19" y="126"/>
                    <a:pt x="21" y="126"/>
                    <a:pt x="23" y="125"/>
                  </a:cubicBezTo>
                  <a:cubicBezTo>
                    <a:pt x="24" y="125"/>
                    <a:pt x="26" y="124"/>
                    <a:pt x="27" y="124"/>
                  </a:cubicBezTo>
                  <a:cubicBezTo>
                    <a:pt x="28" y="124"/>
                    <a:pt x="28" y="124"/>
                    <a:pt x="28" y="124"/>
                  </a:cubicBezTo>
                  <a:cubicBezTo>
                    <a:pt x="30" y="124"/>
                    <a:pt x="32" y="123"/>
                    <a:pt x="34" y="123"/>
                  </a:cubicBezTo>
                  <a:cubicBezTo>
                    <a:pt x="34" y="123"/>
                    <a:pt x="35" y="123"/>
                    <a:pt x="36" y="123"/>
                  </a:cubicBezTo>
                  <a:cubicBezTo>
                    <a:pt x="36" y="124"/>
                    <a:pt x="37" y="124"/>
                    <a:pt x="38" y="124"/>
                  </a:cubicBezTo>
                  <a:cubicBezTo>
                    <a:pt x="40" y="125"/>
                    <a:pt x="42" y="126"/>
                    <a:pt x="44" y="126"/>
                  </a:cubicBezTo>
                  <a:cubicBezTo>
                    <a:pt x="44" y="126"/>
                    <a:pt x="45" y="126"/>
                    <a:pt x="45" y="126"/>
                  </a:cubicBezTo>
                  <a:cubicBezTo>
                    <a:pt x="50" y="126"/>
                    <a:pt x="52" y="122"/>
                    <a:pt x="54" y="119"/>
                  </a:cubicBezTo>
                  <a:cubicBezTo>
                    <a:pt x="55" y="118"/>
                    <a:pt x="56" y="117"/>
                    <a:pt x="56" y="116"/>
                  </a:cubicBezTo>
                  <a:cubicBezTo>
                    <a:pt x="57" y="114"/>
                    <a:pt x="58" y="113"/>
                    <a:pt x="59" y="112"/>
                  </a:cubicBezTo>
                  <a:cubicBezTo>
                    <a:pt x="61" y="109"/>
                    <a:pt x="63" y="106"/>
                    <a:pt x="66" y="104"/>
                  </a:cubicBezTo>
                  <a:cubicBezTo>
                    <a:pt x="66" y="104"/>
                    <a:pt x="67" y="104"/>
                    <a:pt x="67" y="104"/>
                  </a:cubicBezTo>
                  <a:cubicBezTo>
                    <a:pt x="68" y="105"/>
                    <a:pt x="70" y="105"/>
                    <a:pt x="71" y="105"/>
                  </a:cubicBezTo>
                  <a:cubicBezTo>
                    <a:pt x="72" y="105"/>
                    <a:pt x="72" y="105"/>
                    <a:pt x="73" y="105"/>
                  </a:cubicBezTo>
                  <a:cubicBezTo>
                    <a:pt x="77" y="104"/>
                    <a:pt x="80" y="101"/>
                    <a:pt x="82" y="98"/>
                  </a:cubicBezTo>
                  <a:cubicBezTo>
                    <a:pt x="83" y="97"/>
                    <a:pt x="84" y="96"/>
                    <a:pt x="85" y="95"/>
                  </a:cubicBezTo>
                  <a:cubicBezTo>
                    <a:pt x="86" y="94"/>
                    <a:pt x="87" y="94"/>
                    <a:pt x="89" y="94"/>
                  </a:cubicBezTo>
                  <a:cubicBezTo>
                    <a:pt x="91" y="93"/>
                    <a:pt x="92" y="93"/>
                    <a:pt x="94" y="93"/>
                  </a:cubicBezTo>
                  <a:cubicBezTo>
                    <a:pt x="94" y="93"/>
                    <a:pt x="95" y="92"/>
                    <a:pt x="96" y="92"/>
                  </a:cubicBezTo>
                  <a:cubicBezTo>
                    <a:pt x="98" y="92"/>
                    <a:pt x="100" y="92"/>
                    <a:pt x="102" y="91"/>
                  </a:cubicBezTo>
                  <a:cubicBezTo>
                    <a:pt x="103" y="91"/>
                    <a:pt x="103" y="91"/>
                    <a:pt x="103" y="91"/>
                  </a:cubicBezTo>
                  <a:cubicBezTo>
                    <a:pt x="106" y="90"/>
                    <a:pt x="109" y="89"/>
                    <a:pt x="111" y="88"/>
                  </a:cubicBezTo>
                  <a:cubicBezTo>
                    <a:pt x="113" y="87"/>
                    <a:pt x="114" y="87"/>
                    <a:pt x="115" y="86"/>
                  </a:cubicBezTo>
                  <a:cubicBezTo>
                    <a:pt x="116" y="86"/>
                    <a:pt x="117" y="86"/>
                    <a:pt x="118" y="86"/>
                  </a:cubicBezTo>
                  <a:cubicBezTo>
                    <a:pt x="118" y="86"/>
                    <a:pt x="119" y="86"/>
                    <a:pt x="120" y="86"/>
                  </a:cubicBezTo>
                  <a:cubicBezTo>
                    <a:pt x="121" y="86"/>
                    <a:pt x="122" y="86"/>
                    <a:pt x="123" y="86"/>
                  </a:cubicBezTo>
                  <a:cubicBezTo>
                    <a:pt x="125" y="86"/>
                    <a:pt x="125" y="86"/>
                    <a:pt x="125" y="86"/>
                  </a:cubicBezTo>
                  <a:cubicBezTo>
                    <a:pt x="130" y="86"/>
                    <a:pt x="138" y="86"/>
                    <a:pt x="140" y="79"/>
                  </a:cubicBezTo>
                  <a:cubicBezTo>
                    <a:pt x="141" y="74"/>
                    <a:pt x="139" y="69"/>
                    <a:pt x="137" y="64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3" name="Freeform 76"/>
            <p:cNvSpPr>
              <a:spLocks/>
            </p:cNvSpPr>
            <p:nvPr/>
          </p:nvSpPr>
          <p:spPr bwMode="auto">
            <a:xfrm>
              <a:off x="18315162" y="5563631"/>
              <a:ext cx="675025" cy="580503"/>
            </a:xfrm>
            <a:custGeom>
              <a:avLst/>
              <a:gdLst>
                <a:gd name="T0" fmla="*/ 116 w 124"/>
                <a:gd name="T1" fmla="*/ 72 h 117"/>
                <a:gd name="T2" fmla="*/ 107 w 124"/>
                <a:gd name="T3" fmla="*/ 67 h 117"/>
                <a:gd name="T4" fmla="*/ 101 w 124"/>
                <a:gd name="T5" fmla="*/ 68 h 117"/>
                <a:gd name="T6" fmla="*/ 98 w 124"/>
                <a:gd name="T7" fmla="*/ 66 h 117"/>
                <a:gd name="T8" fmla="*/ 95 w 124"/>
                <a:gd name="T9" fmla="*/ 60 h 117"/>
                <a:gd name="T10" fmla="*/ 82 w 124"/>
                <a:gd name="T11" fmla="*/ 46 h 117"/>
                <a:gd name="T12" fmla="*/ 78 w 124"/>
                <a:gd name="T13" fmla="*/ 45 h 117"/>
                <a:gd name="T14" fmla="*/ 75 w 124"/>
                <a:gd name="T15" fmla="*/ 44 h 117"/>
                <a:gd name="T16" fmla="*/ 72 w 124"/>
                <a:gd name="T17" fmla="*/ 41 h 117"/>
                <a:gd name="T18" fmla="*/ 58 w 124"/>
                <a:gd name="T19" fmla="*/ 31 h 117"/>
                <a:gd name="T20" fmla="*/ 52 w 124"/>
                <a:gd name="T21" fmla="*/ 28 h 117"/>
                <a:gd name="T22" fmla="*/ 44 w 124"/>
                <a:gd name="T23" fmla="*/ 22 h 117"/>
                <a:gd name="T24" fmla="*/ 39 w 124"/>
                <a:gd name="T25" fmla="*/ 25 h 117"/>
                <a:gd name="T26" fmla="*/ 37 w 124"/>
                <a:gd name="T27" fmla="*/ 20 h 117"/>
                <a:gd name="T28" fmla="*/ 40 w 124"/>
                <a:gd name="T29" fmla="*/ 21 h 117"/>
                <a:gd name="T30" fmla="*/ 42 w 124"/>
                <a:gd name="T31" fmla="*/ 8 h 117"/>
                <a:gd name="T32" fmla="*/ 41 w 124"/>
                <a:gd name="T33" fmla="*/ 6 h 117"/>
                <a:gd name="T34" fmla="*/ 29 w 124"/>
                <a:gd name="T35" fmla="*/ 6 h 117"/>
                <a:gd name="T36" fmla="*/ 27 w 124"/>
                <a:gd name="T37" fmla="*/ 6 h 117"/>
                <a:gd name="T38" fmla="*/ 16 w 124"/>
                <a:gd name="T39" fmla="*/ 23 h 117"/>
                <a:gd name="T40" fmla="*/ 15 w 124"/>
                <a:gd name="T41" fmla="*/ 39 h 117"/>
                <a:gd name="T42" fmla="*/ 15 w 124"/>
                <a:gd name="T43" fmla="*/ 71 h 117"/>
                <a:gd name="T44" fmla="*/ 10 w 124"/>
                <a:gd name="T45" fmla="*/ 81 h 117"/>
                <a:gd name="T46" fmla="*/ 2 w 124"/>
                <a:gd name="T47" fmla="*/ 100 h 117"/>
                <a:gd name="T48" fmla="*/ 21 w 124"/>
                <a:gd name="T49" fmla="*/ 98 h 117"/>
                <a:gd name="T50" fmla="*/ 27 w 124"/>
                <a:gd name="T51" fmla="*/ 95 h 117"/>
                <a:gd name="T52" fmla="*/ 29 w 124"/>
                <a:gd name="T53" fmla="*/ 103 h 117"/>
                <a:gd name="T54" fmla="*/ 30 w 124"/>
                <a:gd name="T55" fmla="*/ 113 h 117"/>
                <a:gd name="T56" fmla="*/ 46 w 124"/>
                <a:gd name="T57" fmla="*/ 112 h 117"/>
                <a:gd name="T58" fmla="*/ 52 w 124"/>
                <a:gd name="T59" fmla="*/ 106 h 117"/>
                <a:gd name="T60" fmla="*/ 56 w 124"/>
                <a:gd name="T61" fmla="*/ 98 h 117"/>
                <a:gd name="T62" fmla="*/ 66 w 124"/>
                <a:gd name="T63" fmla="*/ 83 h 117"/>
                <a:gd name="T64" fmla="*/ 67 w 124"/>
                <a:gd name="T65" fmla="*/ 77 h 117"/>
                <a:gd name="T66" fmla="*/ 71 w 124"/>
                <a:gd name="T67" fmla="*/ 76 h 117"/>
                <a:gd name="T68" fmla="*/ 72 w 124"/>
                <a:gd name="T69" fmla="*/ 79 h 117"/>
                <a:gd name="T70" fmla="*/ 76 w 124"/>
                <a:gd name="T71" fmla="*/ 82 h 117"/>
                <a:gd name="T72" fmla="*/ 81 w 124"/>
                <a:gd name="T73" fmla="*/ 81 h 117"/>
                <a:gd name="T74" fmla="*/ 82 w 124"/>
                <a:gd name="T75" fmla="*/ 81 h 117"/>
                <a:gd name="T76" fmla="*/ 80 w 124"/>
                <a:gd name="T77" fmla="*/ 88 h 117"/>
                <a:gd name="T78" fmla="*/ 90 w 124"/>
                <a:gd name="T79" fmla="*/ 91 h 117"/>
                <a:gd name="T80" fmla="*/ 96 w 124"/>
                <a:gd name="T81" fmla="*/ 93 h 117"/>
                <a:gd name="T82" fmla="*/ 105 w 124"/>
                <a:gd name="T83" fmla="*/ 96 h 117"/>
                <a:gd name="T84" fmla="*/ 124 w 124"/>
                <a:gd name="T85" fmla="*/ 8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4" h="117">
                  <a:moveTo>
                    <a:pt x="120" y="75"/>
                  </a:moveTo>
                  <a:cubicBezTo>
                    <a:pt x="119" y="74"/>
                    <a:pt x="118" y="73"/>
                    <a:pt x="116" y="72"/>
                  </a:cubicBezTo>
                  <a:cubicBezTo>
                    <a:pt x="115" y="71"/>
                    <a:pt x="114" y="70"/>
                    <a:pt x="113" y="69"/>
                  </a:cubicBezTo>
                  <a:cubicBezTo>
                    <a:pt x="111" y="67"/>
                    <a:pt x="110" y="67"/>
                    <a:pt x="107" y="67"/>
                  </a:cubicBezTo>
                  <a:cubicBezTo>
                    <a:pt x="106" y="67"/>
                    <a:pt x="104" y="67"/>
                    <a:pt x="103" y="67"/>
                  </a:cubicBezTo>
                  <a:cubicBezTo>
                    <a:pt x="101" y="68"/>
                    <a:pt x="101" y="68"/>
                    <a:pt x="101" y="68"/>
                  </a:cubicBezTo>
                  <a:cubicBezTo>
                    <a:pt x="100" y="68"/>
                    <a:pt x="99" y="68"/>
                    <a:pt x="98" y="68"/>
                  </a:cubicBezTo>
                  <a:cubicBezTo>
                    <a:pt x="98" y="68"/>
                    <a:pt x="98" y="67"/>
                    <a:pt x="98" y="66"/>
                  </a:cubicBezTo>
                  <a:cubicBezTo>
                    <a:pt x="97" y="65"/>
                    <a:pt x="97" y="63"/>
                    <a:pt x="96" y="62"/>
                  </a:cubicBezTo>
                  <a:cubicBezTo>
                    <a:pt x="95" y="61"/>
                    <a:pt x="95" y="60"/>
                    <a:pt x="95" y="60"/>
                  </a:cubicBezTo>
                  <a:cubicBezTo>
                    <a:pt x="94" y="52"/>
                    <a:pt x="90" y="47"/>
                    <a:pt x="83" y="46"/>
                  </a:cubicBezTo>
                  <a:cubicBezTo>
                    <a:pt x="83" y="46"/>
                    <a:pt x="82" y="46"/>
                    <a:pt x="82" y="46"/>
                  </a:cubicBezTo>
                  <a:cubicBezTo>
                    <a:pt x="81" y="46"/>
                    <a:pt x="80" y="46"/>
                    <a:pt x="79" y="46"/>
                  </a:cubicBezTo>
                  <a:cubicBezTo>
                    <a:pt x="79" y="46"/>
                    <a:pt x="79" y="46"/>
                    <a:pt x="78" y="45"/>
                  </a:cubicBezTo>
                  <a:cubicBezTo>
                    <a:pt x="77" y="45"/>
                    <a:pt x="77" y="45"/>
                    <a:pt x="76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3" y="44"/>
                    <a:pt x="73" y="44"/>
                    <a:pt x="73" y="43"/>
                  </a:cubicBezTo>
                  <a:cubicBezTo>
                    <a:pt x="72" y="43"/>
                    <a:pt x="72" y="42"/>
                    <a:pt x="72" y="41"/>
                  </a:cubicBezTo>
                  <a:cubicBezTo>
                    <a:pt x="71" y="40"/>
                    <a:pt x="71" y="38"/>
                    <a:pt x="69" y="37"/>
                  </a:cubicBezTo>
                  <a:cubicBezTo>
                    <a:pt x="68" y="36"/>
                    <a:pt x="64" y="32"/>
                    <a:pt x="58" y="31"/>
                  </a:cubicBezTo>
                  <a:cubicBezTo>
                    <a:pt x="56" y="31"/>
                    <a:pt x="55" y="31"/>
                    <a:pt x="53" y="29"/>
                  </a:cubicBezTo>
                  <a:cubicBezTo>
                    <a:pt x="53" y="28"/>
                    <a:pt x="53" y="28"/>
                    <a:pt x="52" y="28"/>
                  </a:cubicBezTo>
                  <a:cubicBezTo>
                    <a:pt x="51" y="25"/>
                    <a:pt x="49" y="22"/>
                    <a:pt x="45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2" y="22"/>
                    <a:pt x="40" y="24"/>
                    <a:pt x="40" y="24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8" y="25"/>
                    <a:pt x="38" y="25"/>
                  </a:cubicBezTo>
                  <a:cubicBezTo>
                    <a:pt x="38" y="25"/>
                    <a:pt x="37" y="22"/>
                    <a:pt x="37" y="20"/>
                  </a:cubicBezTo>
                  <a:cubicBezTo>
                    <a:pt x="38" y="20"/>
                    <a:pt x="39" y="21"/>
                    <a:pt x="40" y="21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2" y="21"/>
                    <a:pt x="43" y="20"/>
                    <a:pt x="44" y="19"/>
                  </a:cubicBezTo>
                  <a:cubicBezTo>
                    <a:pt x="48" y="15"/>
                    <a:pt x="43" y="10"/>
                    <a:pt x="42" y="8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6"/>
                    <a:pt x="41" y="6"/>
                  </a:cubicBezTo>
                  <a:cubicBezTo>
                    <a:pt x="40" y="4"/>
                    <a:pt x="39" y="0"/>
                    <a:pt x="35" y="0"/>
                  </a:cubicBezTo>
                  <a:cubicBezTo>
                    <a:pt x="31" y="0"/>
                    <a:pt x="29" y="3"/>
                    <a:pt x="29" y="6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28" y="6"/>
                    <a:pt x="28" y="6"/>
                    <a:pt x="27" y="6"/>
                  </a:cubicBezTo>
                  <a:cubicBezTo>
                    <a:pt x="26" y="6"/>
                    <a:pt x="24" y="7"/>
                    <a:pt x="23" y="7"/>
                  </a:cubicBezTo>
                  <a:cubicBezTo>
                    <a:pt x="16" y="11"/>
                    <a:pt x="16" y="19"/>
                    <a:pt x="16" y="23"/>
                  </a:cubicBezTo>
                  <a:cubicBezTo>
                    <a:pt x="16" y="25"/>
                    <a:pt x="16" y="28"/>
                    <a:pt x="16" y="30"/>
                  </a:cubicBezTo>
                  <a:cubicBezTo>
                    <a:pt x="16" y="33"/>
                    <a:pt x="16" y="36"/>
                    <a:pt x="15" y="39"/>
                  </a:cubicBezTo>
                  <a:cubicBezTo>
                    <a:pt x="15" y="45"/>
                    <a:pt x="15" y="49"/>
                    <a:pt x="14" y="54"/>
                  </a:cubicBezTo>
                  <a:cubicBezTo>
                    <a:pt x="13" y="60"/>
                    <a:pt x="13" y="66"/>
                    <a:pt x="15" y="71"/>
                  </a:cubicBezTo>
                  <a:cubicBezTo>
                    <a:pt x="16" y="76"/>
                    <a:pt x="16" y="78"/>
                    <a:pt x="13" y="80"/>
                  </a:cubicBezTo>
                  <a:cubicBezTo>
                    <a:pt x="12" y="80"/>
                    <a:pt x="11" y="81"/>
                    <a:pt x="10" y="81"/>
                  </a:cubicBezTo>
                  <a:cubicBezTo>
                    <a:pt x="6" y="84"/>
                    <a:pt x="1" y="87"/>
                    <a:pt x="0" y="94"/>
                  </a:cubicBezTo>
                  <a:cubicBezTo>
                    <a:pt x="0" y="96"/>
                    <a:pt x="1" y="99"/>
                    <a:pt x="2" y="100"/>
                  </a:cubicBezTo>
                  <a:cubicBezTo>
                    <a:pt x="3" y="101"/>
                    <a:pt x="5" y="102"/>
                    <a:pt x="7" y="102"/>
                  </a:cubicBezTo>
                  <a:cubicBezTo>
                    <a:pt x="12" y="102"/>
                    <a:pt x="17" y="100"/>
                    <a:pt x="21" y="98"/>
                  </a:cubicBezTo>
                  <a:cubicBezTo>
                    <a:pt x="23" y="97"/>
                    <a:pt x="25" y="96"/>
                    <a:pt x="26" y="95"/>
                  </a:cubicBezTo>
                  <a:cubicBezTo>
                    <a:pt x="27" y="95"/>
                    <a:pt x="27" y="95"/>
                    <a:pt x="27" y="95"/>
                  </a:cubicBezTo>
                  <a:cubicBezTo>
                    <a:pt x="27" y="95"/>
                    <a:pt x="27" y="95"/>
                    <a:pt x="27" y="96"/>
                  </a:cubicBezTo>
                  <a:cubicBezTo>
                    <a:pt x="29" y="98"/>
                    <a:pt x="29" y="101"/>
                    <a:pt x="29" y="103"/>
                  </a:cubicBezTo>
                  <a:cubicBezTo>
                    <a:pt x="29" y="104"/>
                    <a:pt x="29" y="105"/>
                    <a:pt x="29" y="105"/>
                  </a:cubicBezTo>
                  <a:cubicBezTo>
                    <a:pt x="29" y="108"/>
                    <a:pt x="29" y="110"/>
                    <a:pt x="30" y="113"/>
                  </a:cubicBezTo>
                  <a:cubicBezTo>
                    <a:pt x="32" y="117"/>
                    <a:pt x="35" y="117"/>
                    <a:pt x="36" y="117"/>
                  </a:cubicBezTo>
                  <a:cubicBezTo>
                    <a:pt x="40" y="117"/>
                    <a:pt x="43" y="114"/>
                    <a:pt x="46" y="112"/>
                  </a:cubicBezTo>
                  <a:cubicBezTo>
                    <a:pt x="47" y="111"/>
                    <a:pt x="47" y="111"/>
                    <a:pt x="47" y="111"/>
                  </a:cubicBezTo>
                  <a:cubicBezTo>
                    <a:pt x="49" y="109"/>
                    <a:pt x="51" y="108"/>
                    <a:pt x="52" y="106"/>
                  </a:cubicBezTo>
                  <a:cubicBezTo>
                    <a:pt x="53" y="104"/>
                    <a:pt x="54" y="102"/>
                    <a:pt x="54" y="101"/>
                  </a:cubicBezTo>
                  <a:cubicBezTo>
                    <a:pt x="55" y="100"/>
                    <a:pt x="55" y="99"/>
                    <a:pt x="56" y="98"/>
                  </a:cubicBezTo>
                  <a:cubicBezTo>
                    <a:pt x="56" y="96"/>
                    <a:pt x="58" y="95"/>
                    <a:pt x="60" y="93"/>
                  </a:cubicBezTo>
                  <a:cubicBezTo>
                    <a:pt x="62" y="91"/>
                    <a:pt x="65" y="88"/>
                    <a:pt x="66" y="83"/>
                  </a:cubicBezTo>
                  <a:cubicBezTo>
                    <a:pt x="66" y="82"/>
                    <a:pt x="66" y="82"/>
                    <a:pt x="66" y="81"/>
                  </a:cubicBezTo>
                  <a:cubicBezTo>
                    <a:pt x="66" y="79"/>
                    <a:pt x="66" y="78"/>
                    <a:pt x="67" y="77"/>
                  </a:cubicBezTo>
                  <a:cubicBezTo>
                    <a:pt x="68" y="76"/>
                    <a:pt x="69" y="75"/>
                    <a:pt x="71" y="75"/>
                  </a:cubicBezTo>
                  <a:cubicBezTo>
                    <a:pt x="71" y="75"/>
                    <a:pt x="71" y="76"/>
                    <a:pt x="71" y="76"/>
                  </a:cubicBezTo>
                  <a:cubicBezTo>
                    <a:pt x="71" y="77"/>
                    <a:pt x="72" y="78"/>
                    <a:pt x="72" y="78"/>
                  </a:cubicBezTo>
                  <a:cubicBezTo>
                    <a:pt x="72" y="78"/>
                    <a:pt x="72" y="79"/>
                    <a:pt x="72" y="79"/>
                  </a:cubicBezTo>
                  <a:cubicBezTo>
                    <a:pt x="72" y="82"/>
                    <a:pt x="72" y="82"/>
                    <a:pt x="72" y="82"/>
                  </a:cubicBezTo>
                  <a:cubicBezTo>
                    <a:pt x="76" y="82"/>
                    <a:pt x="76" y="82"/>
                    <a:pt x="76" y="82"/>
                  </a:cubicBezTo>
                  <a:cubicBezTo>
                    <a:pt x="77" y="82"/>
                    <a:pt x="77" y="82"/>
                    <a:pt x="77" y="82"/>
                  </a:cubicBezTo>
                  <a:cubicBezTo>
                    <a:pt x="78" y="81"/>
                    <a:pt x="80" y="81"/>
                    <a:pt x="81" y="81"/>
                  </a:cubicBezTo>
                  <a:cubicBezTo>
                    <a:pt x="82" y="81"/>
                    <a:pt x="82" y="81"/>
                    <a:pt x="82" y="81"/>
                  </a:cubicBezTo>
                  <a:cubicBezTo>
                    <a:pt x="82" y="81"/>
                    <a:pt x="82" y="81"/>
                    <a:pt x="82" y="81"/>
                  </a:cubicBezTo>
                  <a:cubicBezTo>
                    <a:pt x="82" y="81"/>
                    <a:pt x="82" y="82"/>
                    <a:pt x="81" y="83"/>
                  </a:cubicBezTo>
                  <a:cubicBezTo>
                    <a:pt x="81" y="84"/>
                    <a:pt x="80" y="86"/>
                    <a:pt x="80" y="88"/>
                  </a:cubicBezTo>
                  <a:cubicBezTo>
                    <a:pt x="81" y="90"/>
                    <a:pt x="82" y="92"/>
                    <a:pt x="86" y="92"/>
                  </a:cubicBezTo>
                  <a:cubicBezTo>
                    <a:pt x="87" y="92"/>
                    <a:pt x="89" y="92"/>
                    <a:pt x="90" y="91"/>
                  </a:cubicBezTo>
                  <a:cubicBezTo>
                    <a:pt x="90" y="91"/>
                    <a:pt x="91" y="91"/>
                    <a:pt x="91" y="91"/>
                  </a:cubicBezTo>
                  <a:cubicBezTo>
                    <a:pt x="93" y="91"/>
                    <a:pt x="94" y="92"/>
                    <a:pt x="96" y="93"/>
                  </a:cubicBezTo>
                  <a:cubicBezTo>
                    <a:pt x="97" y="93"/>
                    <a:pt x="98" y="94"/>
                    <a:pt x="99" y="94"/>
                  </a:cubicBezTo>
                  <a:cubicBezTo>
                    <a:pt x="101" y="95"/>
                    <a:pt x="103" y="96"/>
                    <a:pt x="105" y="96"/>
                  </a:cubicBezTo>
                  <a:cubicBezTo>
                    <a:pt x="112" y="96"/>
                    <a:pt x="117" y="90"/>
                    <a:pt x="121" y="86"/>
                  </a:cubicBezTo>
                  <a:cubicBezTo>
                    <a:pt x="122" y="84"/>
                    <a:pt x="124" y="82"/>
                    <a:pt x="124" y="80"/>
                  </a:cubicBezTo>
                  <a:cubicBezTo>
                    <a:pt x="123" y="78"/>
                    <a:pt x="122" y="76"/>
                    <a:pt x="120" y="75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4" name="Freeform 77"/>
            <p:cNvSpPr>
              <a:spLocks/>
            </p:cNvSpPr>
            <p:nvPr/>
          </p:nvSpPr>
          <p:spPr bwMode="auto">
            <a:xfrm>
              <a:off x="18532648" y="5539366"/>
              <a:ext cx="147726" cy="113861"/>
            </a:xfrm>
            <a:custGeom>
              <a:avLst/>
              <a:gdLst>
                <a:gd name="T0" fmla="*/ 6 w 27"/>
                <a:gd name="T1" fmla="*/ 14 h 23"/>
                <a:gd name="T2" fmla="*/ 6 w 27"/>
                <a:gd name="T3" fmla="*/ 15 h 23"/>
                <a:gd name="T4" fmla="*/ 10 w 27"/>
                <a:gd name="T5" fmla="*/ 20 h 23"/>
                <a:gd name="T6" fmla="*/ 11 w 27"/>
                <a:gd name="T7" fmla="*/ 21 h 23"/>
                <a:gd name="T8" fmla="*/ 17 w 27"/>
                <a:gd name="T9" fmla="*/ 23 h 23"/>
                <a:gd name="T10" fmla="*/ 18 w 27"/>
                <a:gd name="T11" fmla="*/ 23 h 23"/>
                <a:gd name="T12" fmla="*/ 19 w 27"/>
                <a:gd name="T13" fmla="*/ 23 h 23"/>
                <a:gd name="T14" fmla="*/ 27 w 27"/>
                <a:gd name="T15" fmla="*/ 18 h 23"/>
                <a:gd name="T16" fmla="*/ 27 w 27"/>
                <a:gd name="T17" fmla="*/ 15 h 23"/>
                <a:gd name="T18" fmla="*/ 24 w 27"/>
                <a:gd name="T19" fmla="*/ 15 h 23"/>
                <a:gd name="T20" fmla="*/ 23 w 27"/>
                <a:gd name="T21" fmla="*/ 14 h 23"/>
                <a:gd name="T22" fmla="*/ 21 w 27"/>
                <a:gd name="T23" fmla="*/ 13 h 23"/>
                <a:gd name="T24" fmla="*/ 19 w 27"/>
                <a:gd name="T25" fmla="*/ 13 h 23"/>
                <a:gd name="T26" fmla="*/ 19 w 27"/>
                <a:gd name="T27" fmla="*/ 13 h 23"/>
                <a:gd name="T28" fmla="*/ 18 w 27"/>
                <a:gd name="T29" fmla="*/ 12 h 23"/>
                <a:gd name="T30" fmla="*/ 18 w 27"/>
                <a:gd name="T31" fmla="*/ 10 h 23"/>
                <a:gd name="T32" fmla="*/ 15 w 27"/>
                <a:gd name="T33" fmla="*/ 6 h 23"/>
                <a:gd name="T34" fmla="*/ 14 w 27"/>
                <a:gd name="T35" fmla="*/ 6 h 23"/>
                <a:gd name="T36" fmla="*/ 13 w 27"/>
                <a:gd name="T37" fmla="*/ 4 h 23"/>
                <a:gd name="T38" fmla="*/ 6 w 27"/>
                <a:gd name="T39" fmla="*/ 0 h 23"/>
                <a:gd name="T40" fmla="*/ 4 w 27"/>
                <a:gd name="T41" fmla="*/ 0 h 23"/>
                <a:gd name="T42" fmla="*/ 1 w 27"/>
                <a:gd name="T43" fmla="*/ 3 h 23"/>
                <a:gd name="T44" fmla="*/ 5 w 27"/>
                <a:gd name="T45" fmla="*/ 13 h 23"/>
                <a:gd name="T46" fmla="*/ 6 w 27"/>
                <a:gd name="T47" fmla="*/ 1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7" h="23">
                  <a:moveTo>
                    <a:pt x="6" y="14"/>
                  </a:moveTo>
                  <a:cubicBezTo>
                    <a:pt x="6" y="14"/>
                    <a:pt x="6" y="15"/>
                    <a:pt x="6" y="15"/>
                  </a:cubicBezTo>
                  <a:cubicBezTo>
                    <a:pt x="6" y="17"/>
                    <a:pt x="7" y="19"/>
                    <a:pt x="10" y="20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2" y="22"/>
                    <a:pt x="14" y="23"/>
                    <a:pt x="17" y="23"/>
                  </a:cubicBezTo>
                  <a:cubicBezTo>
                    <a:pt x="17" y="23"/>
                    <a:pt x="18" y="23"/>
                    <a:pt x="18" y="23"/>
                  </a:cubicBezTo>
                  <a:cubicBezTo>
                    <a:pt x="18" y="23"/>
                    <a:pt x="19" y="23"/>
                    <a:pt x="19" y="23"/>
                  </a:cubicBezTo>
                  <a:cubicBezTo>
                    <a:pt x="21" y="23"/>
                    <a:pt x="27" y="22"/>
                    <a:pt x="27" y="18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3" y="14"/>
                    <a:pt x="23" y="14"/>
                  </a:cubicBezTo>
                  <a:cubicBezTo>
                    <a:pt x="22" y="14"/>
                    <a:pt x="22" y="13"/>
                    <a:pt x="21" y="13"/>
                  </a:cubicBezTo>
                  <a:cubicBezTo>
                    <a:pt x="20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2"/>
                    <a:pt x="18" y="12"/>
                    <a:pt x="18" y="12"/>
                  </a:cubicBezTo>
                  <a:cubicBezTo>
                    <a:pt x="18" y="11"/>
                    <a:pt x="18" y="10"/>
                    <a:pt x="18" y="10"/>
                  </a:cubicBezTo>
                  <a:cubicBezTo>
                    <a:pt x="17" y="8"/>
                    <a:pt x="16" y="7"/>
                    <a:pt x="15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3" y="5"/>
                    <a:pt x="13" y="4"/>
                  </a:cubicBezTo>
                  <a:cubicBezTo>
                    <a:pt x="11" y="2"/>
                    <a:pt x="9" y="0"/>
                    <a:pt x="6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3" y="1"/>
                    <a:pt x="1" y="2"/>
                    <a:pt x="1" y="3"/>
                  </a:cubicBezTo>
                  <a:cubicBezTo>
                    <a:pt x="0" y="7"/>
                    <a:pt x="3" y="10"/>
                    <a:pt x="5" y="13"/>
                  </a:cubicBezTo>
                  <a:cubicBezTo>
                    <a:pt x="5" y="13"/>
                    <a:pt x="5" y="13"/>
                    <a:pt x="6" y="14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5" name="Freeform 78"/>
            <p:cNvSpPr>
              <a:spLocks/>
            </p:cNvSpPr>
            <p:nvPr/>
          </p:nvSpPr>
          <p:spPr bwMode="auto">
            <a:xfrm>
              <a:off x="18996343" y="4835669"/>
              <a:ext cx="86173" cy="89595"/>
            </a:xfrm>
            <a:custGeom>
              <a:avLst/>
              <a:gdLst>
                <a:gd name="T0" fmla="*/ 16 w 16"/>
                <a:gd name="T1" fmla="*/ 6 h 18"/>
                <a:gd name="T2" fmla="*/ 11 w 16"/>
                <a:gd name="T3" fmla="*/ 1 h 18"/>
                <a:gd name="T4" fmla="*/ 7 w 16"/>
                <a:gd name="T5" fmla="*/ 0 h 18"/>
                <a:gd name="T6" fmla="*/ 1 w 16"/>
                <a:gd name="T7" fmla="*/ 5 h 18"/>
                <a:gd name="T8" fmla="*/ 2 w 16"/>
                <a:gd name="T9" fmla="*/ 13 h 18"/>
                <a:gd name="T10" fmla="*/ 3 w 16"/>
                <a:gd name="T11" fmla="*/ 14 h 18"/>
                <a:gd name="T12" fmla="*/ 8 w 16"/>
                <a:gd name="T13" fmla="*/ 18 h 18"/>
                <a:gd name="T14" fmla="*/ 10 w 16"/>
                <a:gd name="T15" fmla="*/ 18 h 18"/>
                <a:gd name="T16" fmla="*/ 14 w 16"/>
                <a:gd name="T17" fmla="*/ 12 h 18"/>
                <a:gd name="T18" fmla="*/ 15 w 16"/>
                <a:gd name="T19" fmla="*/ 11 h 18"/>
                <a:gd name="T20" fmla="*/ 16 w 16"/>
                <a:gd name="T21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18">
                  <a:moveTo>
                    <a:pt x="16" y="6"/>
                  </a:moveTo>
                  <a:cubicBezTo>
                    <a:pt x="15" y="4"/>
                    <a:pt x="13" y="2"/>
                    <a:pt x="11" y="1"/>
                  </a:cubicBezTo>
                  <a:cubicBezTo>
                    <a:pt x="10" y="1"/>
                    <a:pt x="9" y="0"/>
                    <a:pt x="7" y="0"/>
                  </a:cubicBezTo>
                  <a:cubicBezTo>
                    <a:pt x="6" y="0"/>
                    <a:pt x="3" y="1"/>
                    <a:pt x="1" y="5"/>
                  </a:cubicBezTo>
                  <a:cubicBezTo>
                    <a:pt x="0" y="8"/>
                    <a:pt x="0" y="10"/>
                    <a:pt x="2" y="13"/>
                  </a:cubicBezTo>
                  <a:cubicBezTo>
                    <a:pt x="3" y="13"/>
                    <a:pt x="3" y="14"/>
                    <a:pt x="3" y="14"/>
                  </a:cubicBezTo>
                  <a:cubicBezTo>
                    <a:pt x="3" y="15"/>
                    <a:pt x="5" y="18"/>
                    <a:pt x="8" y="18"/>
                  </a:cubicBezTo>
                  <a:cubicBezTo>
                    <a:pt x="8" y="18"/>
                    <a:pt x="9" y="18"/>
                    <a:pt x="10" y="18"/>
                  </a:cubicBezTo>
                  <a:cubicBezTo>
                    <a:pt x="12" y="17"/>
                    <a:pt x="13" y="14"/>
                    <a:pt x="14" y="12"/>
                  </a:cubicBezTo>
                  <a:cubicBezTo>
                    <a:pt x="14" y="12"/>
                    <a:pt x="14" y="11"/>
                    <a:pt x="15" y="11"/>
                  </a:cubicBezTo>
                  <a:cubicBezTo>
                    <a:pt x="16" y="9"/>
                    <a:pt x="16" y="8"/>
                    <a:pt x="16" y="6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6" name="Freeform 79"/>
            <p:cNvSpPr>
              <a:spLocks/>
            </p:cNvSpPr>
            <p:nvPr/>
          </p:nvSpPr>
          <p:spPr bwMode="auto">
            <a:xfrm>
              <a:off x="18858876" y="4800204"/>
              <a:ext cx="121053" cy="203456"/>
            </a:xfrm>
            <a:custGeom>
              <a:avLst/>
              <a:gdLst>
                <a:gd name="T0" fmla="*/ 18 w 22"/>
                <a:gd name="T1" fmla="*/ 25 h 41"/>
                <a:gd name="T2" fmla="*/ 19 w 22"/>
                <a:gd name="T3" fmla="*/ 24 h 41"/>
                <a:gd name="T4" fmla="*/ 19 w 22"/>
                <a:gd name="T5" fmla="*/ 18 h 41"/>
                <a:gd name="T6" fmla="*/ 14 w 22"/>
                <a:gd name="T7" fmla="*/ 15 h 41"/>
                <a:gd name="T8" fmla="*/ 15 w 22"/>
                <a:gd name="T9" fmla="*/ 14 h 41"/>
                <a:gd name="T10" fmla="*/ 16 w 22"/>
                <a:gd name="T11" fmla="*/ 13 h 41"/>
                <a:gd name="T12" fmla="*/ 20 w 22"/>
                <a:gd name="T13" fmla="*/ 9 h 41"/>
                <a:gd name="T14" fmla="*/ 21 w 22"/>
                <a:gd name="T15" fmla="*/ 4 h 41"/>
                <a:gd name="T16" fmla="*/ 16 w 22"/>
                <a:gd name="T17" fmla="*/ 0 h 41"/>
                <a:gd name="T18" fmla="*/ 15 w 22"/>
                <a:gd name="T19" fmla="*/ 0 h 41"/>
                <a:gd name="T20" fmla="*/ 8 w 22"/>
                <a:gd name="T21" fmla="*/ 5 h 41"/>
                <a:gd name="T22" fmla="*/ 8 w 22"/>
                <a:gd name="T23" fmla="*/ 5 h 41"/>
                <a:gd name="T24" fmla="*/ 6 w 22"/>
                <a:gd name="T25" fmla="*/ 13 h 41"/>
                <a:gd name="T26" fmla="*/ 9 w 22"/>
                <a:gd name="T27" fmla="*/ 16 h 41"/>
                <a:gd name="T28" fmla="*/ 7 w 22"/>
                <a:gd name="T29" fmla="*/ 20 h 41"/>
                <a:gd name="T30" fmla="*/ 7 w 22"/>
                <a:gd name="T31" fmla="*/ 22 h 41"/>
                <a:gd name="T32" fmla="*/ 7 w 22"/>
                <a:gd name="T33" fmla="*/ 22 h 41"/>
                <a:gd name="T34" fmla="*/ 5 w 22"/>
                <a:gd name="T35" fmla="*/ 27 h 41"/>
                <a:gd name="T36" fmla="*/ 5 w 22"/>
                <a:gd name="T37" fmla="*/ 27 h 41"/>
                <a:gd name="T38" fmla="*/ 0 w 22"/>
                <a:gd name="T39" fmla="*/ 37 h 41"/>
                <a:gd name="T40" fmla="*/ 3 w 22"/>
                <a:gd name="T41" fmla="*/ 41 h 41"/>
                <a:gd name="T42" fmla="*/ 6 w 22"/>
                <a:gd name="T43" fmla="*/ 41 h 41"/>
                <a:gd name="T44" fmla="*/ 6 w 22"/>
                <a:gd name="T45" fmla="*/ 41 h 41"/>
                <a:gd name="T46" fmla="*/ 18 w 22"/>
                <a:gd name="T47" fmla="*/ 2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2" h="41">
                  <a:moveTo>
                    <a:pt x="18" y="25"/>
                  </a:moveTo>
                  <a:cubicBezTo>
                    <a:pt x="19" y="24"/>
                    <a:pt x="19" y="24"/>
                    <a:pt x="19" y="24"/>
                  </a:cubicBezTo>
                  <a:cubicBezTo>
                    <a:pt x="20" y="21"/>
                    <a:pt x="20" y="19"/>
                    <a:pt x="19" y="18"/>
                  </a:cubicBezTo>
                  <a:cubicBezTo>
                    <a:pt x="18" y="16"/>
                    <a:pt x="16" y="15"/>
                    <a:pt x="14" y="15"/>
                  </a:cubicBezTo>
                  <a:cubicBezTo>
                    <a:pt x="14" y="14"/>
                    <a:pt x="15" y="14"/>
                    <a:pt x="15" y="14"/>
                  </a:cubicBezTo>
                  <a:cubicBezTo>
                    <a:pt x="15" y="14"/>
                    <a:pt x="16" y="13"/>
                    <a:pt x="16" y="13"/>
                  </a:cubicBezTo>
                  <a:cubicBezTo>
                    <a:pt x="18" y="12"/>
                    <a:pt x="19" y="11"/>
                    <a:pt x="20" y="9"/>
                  </a:cubicBezTo>
                  <a:cubicBezTo>
                    <a:pt x="21" y="8"/>
                    <a:pt x="22" y="5"/>
                    <a:pt x="21" y="4"/>
                  </a:cubicBezTo>
                  <a:cubicBezTo>
                    <a:pt x="20" y="2"/>
                    <a:pt x="18" y="0"/>
                    <a:pt x="16" y="0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2" y="0"/>
                    <a:pt x="9" y="3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6" y="7"/>
                    <a:pt x="4" y="10"/>
                    <a:pt x="6" y="13"/>
                  </a:cubicBezTo>
                  <a:cubicBezTo>
                    <a:pt x="6" y="15"/>
                    <a:pt x="8" y="16"/>
                    <a:pt x="9" y="16"/>
                  </a:cubicBezTo>
                  <a:cubicBezTo>
                    <a:pt x="8" y="17"/>
                    <a:pt x="7" y="18"/>
                    <a:pt x="7" y="20"/>
                  </a:cubicBezTo>
                  <a:cubicBezTo>
                    <a:pt x="7" y="21"/>
                    <a:pt x="7" y="21"/>
                    <a:pt x="7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7" y="25"/>
                    <a:pt x="5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2" y="30"/>
                    <a:pt x="0" y="33"/>
                    <a:pt x="0" y="37"/>
                  </a:cubicBezTo>
                  <a:cubicBezTo>
                    <a:pt x="1" y="38"/>
                    <a:pt x="2" y="40"/>
                    <a:pt x="3" y="41"/>
                  </a:cubicBezTo>
                  <a:cubicBezTo>
                    <a:pt x="4" y="41"/>
                    <a:pt x="5" y="41"/>
                    <a:pt x="6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9" y="41"/>
                    <a:pt x="13" y="37"/>
                    <a:pt x="18" y="25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7" name="Freeform 80"/>
            <p:cNvSpPr>
              <a:spLocks/>
            </p:cNvSpPr>
            <p:nvPr/>
          </p:nvSpPr>
          <p:spPr bwMode="auto">
            <a:xfrm>
              <a:off x="18897859" y="5003660"/>
              <a:ext cx="82070" cy="123194"/>
            </a:xfrm>
            <a:custGeom>
              <a:avLst/>
              <a:gdLst>
                <a:gd name="T0" fmla="*/ 8 w 15"/>
                <a:gd name="T1" fmla="*/ 0 h 25"/>
                <a:gd name="T2" fmla="*/ 5 w 15"/>
                <a:gd name="T3" fmla="*/ 1 h 25"/>
                <a:gd name="T4" fmla="*/ 4 w 15"/>
                <a:gd name="T5" fmla="*/ 7 h 25"/>
                <a:gd name="T6" fmla="*/ 4 w 15"/>
                <a:gd name="T7" fmla="*/ 7 h 25"/>
                <a:gd name="T8" fmla="*/ 4 w 15"/>
                <a:gd name="T9" fmla="*/ 7 h 25"/>
                <a:gd name="T10" fmla="*/ 3 w 15"/>
                <a:gd name="T11" fmla="*/ 12 h 25"/>
                <a:gd name="T12" fmla="*/ 3 w 15"/>
                <a:gd name="T13" fmla="*/ 14 h 25"/>
                <a:gd name="T14" fmla="*/ 1 w 15"/>
                <a:gd name="T15" fmla="*/ 15 h 25"/>
                <a:gd name="T16" fmla="*/ 0 w 15"/>
                <a:gd name="T17" fmla="*/ 19 h 25"/>
                <a:gd name="T18" fmla="*/ 6 w 15"/>
                <a:gd name="T19" fmla="*/ 25 h 25"/>
                <a:gd name="T20" fmla="*/ 11 w 15"/>
                <a:gd name="T21" fmla="*/ 20 h 25"/>
                <a:gd name="T22" fmla="*/ 9 w 15"/>
                <a:gd name="T23" fmla="*/ 15 h 25"/>
                <a:gd name="T24" fmla="*/ 9 w 15"/>
                <a:gd name="T25" fmla="*/ 15 h 25"/>
                <a:gd name="T26" fmla="*/ 11 w 15"/>
                <a:gd name="T27" fmla="*/ 12 h 25"/>
                <a:gd name="T28" fmla="*/ 12 w 15"/>
                <a:gd name="T29" fmla="*/ 11 h 25"/>
                <a:gd name="T30" fmla="*/ 12 w 15"/>
                <a:gd name="T31" fmla="*/ 11 h 25"/>
                <a:gd name="T32" fmla="*/ 15 w 15"/>
                <a:gd name="T33" fmla="*/ 6 h 25"/>
                <a:gd name="T34" fmla="*/ 8 w 15"/>
                <a:gd name="T3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" h="25">
                  <a:moveTo>
                    <a:pt x="8" y="0"/>
                  </a:moveTo>
                  <a:cubicBezTo>
                    <a:pt x="7" y="0"/>
                    <a:pt x="6" y="0"/>
                    <a:pt x="5" y="1"/>
                  </a:cubicBezTo>
                  <a:cubicBezTo>
                    <a:pt x="2" y="3"/>
                    <a:pt x="4" y="6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3" y="8"/>
                    <a:pt x="2" y="10"/>
                    <a:pt x="3" y="12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2" y="14"/>
                    <a:pt x="2" y="14"/>
                    <a:pt x="1" y="15"/>
                  </a:cubicBezTo>
                  <a:cubicBezTo>
                    <a:pt x="1" y="16"/>
                    <a:pt x="0" y="17"/>
                    <a:pt x="0" y="19"/>
                  </a:cubicBezTo>
                  <a:cubicBezTo>
                    <a:pt x="1" y="22"/>
                    <a:pt x="3" y="25"/>
                    <a:pt x="6" y="25"/>
                  </a:cubicBezTo>
                  <a:cubicBezTo>
                    <a:pt x="8" y="25"/>
                    <a:pt x="11" y="23"/>
                    <a:pt x="11" y="20"/>
                  </a:cubicBezTo>
                  <a:cubicBezTo>
                    <a:pt x="11" y="18"/>
                    <a:pt x="11" y="16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10" y="14"/>
                    <a:pt x="11" y="13"/>
                    <a:pt x="11" y="12"/>
                  </a:cubicBezTo>
                  <a:cubicBezTo>
                    <a:pt x="12" y="12"/>
                    <a:pt x="12" y="11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5" y="9"/>
                    <a:pt x="15" y="6"/>
                  </a:cubicBezTo>
                  <a:cubicBezTo>
                    <a:pt x="15" y="3"/>
                    <a:pt x="11" y="0"/>
                    <a:pt x="8" y="0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8" name="Freeform 81"/>
            <p:cNvSpPr>
              <a:spLocks/>
            </p:cNvSpPr>
            <p:nvPr/>
          </p:nvSpPr>
          <p:spPr bwMode="auto">
            <a:xfrm>
              <a:off x="18750133" y="4800204"/>
              <a:ext cx="108743" cy="83996"/>
            </a:xfrm>
            <a:custGeom>
              <a:avLst/>
              <a:gdLst>
                <a:gd name="T0" fmla="*/ 14 w 20"/>
                <a:gd name="T1" fmla="*/ 2 h 17"/>
                <a:gd name="T2" fmla="*/ 12 w 20"/>
                <a:gd name="T3" fmla="*/ 1 h 17"/>
                <a:gd name="T4" fmla="*/ 8 w 20"/>
                <a:gd name="T5" fmla="*/ 0 h 17"/>
                <a:gd name="T6" fmla="*/ 4 w 20"/>
                <a:gd name="T7" fmla="*/ 1 h 17"/>
                <a:gd name="T8" fmla="*/ 1 w 20"/>
                <a:gd name="T9" fmla="*/ 6 h 17"/>
                <a:gd name="T10" fmla="*/ 4 w 20"/>
                <a:gd name="T11" fmla="*/ 12 h 17"/>
                <a:gd name="T12" fmla="*/ 5 w 20"/>
                <a:gd name="T13" fmla="*/ 13 h 17"/>
                <a:gd name="T14" fmla="*/ 5 w 20"/>
                <a:gd name="T15" fmla="*/ 14 h 17"/>
                <a:gd name="T16" fmla="*/ 10 w 20"/>
                <a:gd name="T17" fmla="*/ 17 h 17"/>
                <a:gd name="T18" fmla="*/ 12 w 20"/>
                <a:gd name="T19" fmla="*/ 17 h 17"/>
                <a:gd name="T20" fmla="*/ 14 w 20"/>
                <a:gd name="T21" fmla="*/ 17 h 17"/>
                <a:gd name="T22" fmla="*/ 14 w 20"/>
                <a:gd name="T23" fmla="*/ 15 h 17"/>
                <a:gd name="T24" fmla="*/ 14 w 20"/>
                <a:gd name="T25" fmla="*/ 14 h 17"/>
                <a:gd name="T26" fmla="*/ 14 w 20"/>
                <a:gd name="T27" fmla="*/ 14 h 17"/>
                <a:gd name="T28" fmla="*/ 18 w 20"/>
                <a:gd name="T29" fmla="*/ 12 h 17"/>
                <a:gd name="T30" fmla="*/ 20 w 20"/>
                <a:gd name="T31" fmla="*/ 7 h 17"/>
                <a:gd name="T32" fmla="*/ 14 w 20"/>
                <a:gd name="T33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" h="17">
                  <a:moveTo>
                    <a:pt x="14" y="2"/>
                  </a:moveTo>
                  <a:cubicBezTo>
                    <a:pt x="14" y="2"/>
                    <a:pt x="13" y="2"/>
                    <a:pt x="12" y="1"/>
                  </a:cubicBezTo>
                  <a:cubicBezTo>
                    <a:pt x="11" y="1"/>
                    <a:pt x="10" y="0"/>
                    <a:pt x="8" y="0"/>
                  </a:cubicBezTo>
                  <a:cubicBezTo>
                    <a:pt x="7" y="0"/>
                    <a:pt x="5" y="1"/>
                    <a:pt x="4" y="1"/>
                  </a:cubicBezTo>
                  <a:cubicBezTo>
                    <a:pt x="3" y="2"/>
                    <a:pt x="1" y="3"/>
                    <a:pt x="1" y="6"/>
                  </a:cubicBezTo>
                  <a:cubicBezTo>
                    <a:pt x="0" y="9"/>
                    <a:pt x="2" y="10"/>
                    <a:pt x="4" y="12"/>
                  </a:cubicBezTo>
                  <a:cubicBezTo>
                    <a:pt x="4" y="12"/>
                    <a:pt x="4" y="13"/>
                    <a:pt x="5" y="13"/>
                  </a:cubicBezTo>
                  <a:cubicBezTo>
                    <a:pt x="5" y="13"/>
                    <a:pt x="5" y="13"/>
                    <a:pt x="5" y="14"/>
                  </a:cubicBezTo>
                  <a:cubicBezTo>
                    <a:pt x="6" y="15"/>
                    <a:pt x="7" y="17"/>
                    <a:pt x="10" y="17"/>
                  </a:cubicBezTo>
                  <a:cubicBezTo>
                    <a:pt x="10" y="17"/>
                    <a:pt x="11" y="17"/>
                    <a:pt x="12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5" y="13"/>
                    <a:pt x="16" y="13"/>
                    <a:pt x="18" y="12"/>
                  </a:cubicBezTo>
                  <a:cubicBezTo>
                    <a:pt x="20" y="10"/>
                    <a:pt x="20" y="8"/>
                    <a:pt x="20" y="7"/>
                  </a:cubicBezTo>
                  <a:cubicBezTo>
                    <a:pt x="19" y="4"/>
                    <a:pt x="17" y="3"/>
                    <a:pt x="14" y="2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9" name="Freeform 83"/>
            <p:cNvSpPr>
              <a:spLocks noEditPoints="1"/>
            </p:cNvSpPr>
            <p:nvPr/>
          </p:nvSpPr>
          <p:spPr bwMode="auto">
            <a:xfrm>
              <a:off x="16608107" y="3336813"/>
              <a:ext cx="420609" cy="451710"/>
            </a:xfrm>
            <a:custGeom>
              <a:avLst/>
              <a:gdLst>
                <a:gd name="T0" fmla="*/ 68 w 77"/>
                <a:gd name="T1" fmla="*/ 49 h 91"/>
                <a:gd name="T2" fmla="*/ 67 w 77"/>
                <a:gd name="T3" fmla="*/ 43 h 91"/>
                <a:gd name="T4" fmla="*/ 67 w 77"/>
                <a:gd name="T5" fmla="*/ 34 h 91"/>
                <a:gd name="T6" fmla="*/ 65 w 77"/>
                <a:gd name="T7" fmla="*/ 21 h 91"/>
                <a:gd name="T8" fmla="*/ 55 w 77"/>
                <a:gd name="T9" fmla="*/ 15 h 91"/>
                <a:gd name="T10" fmla="*/ 55 w 77"/>
                <a:gd name="T11" fmla="*/ 12 h 91"/>
                <a:gd name="T12" fmla="*/ 41 w 77"/>
                <a:gd name="T13" fmla="*/ 0 h 91"/>
                <a:gd name="T14" fmla="*/ 33 w 77"/>
                <a:gd name="T15" fmla="*/ 8 h 91"/>
                <a:gd name="T16" fmla="*/ 28 w 77"/>
                <a:gd name="T17" fmla="*/ 7 h 91"/>
                <a:gd name="T18" fmla="*/ 22 w 77"/>
                <a:gd name="T19" fmla="*/ 19 h 91"/>
                <a:gd name="T20" fmla="*/ 18 w 77"/>
                <a:gd name="T21" fmla="*/ 19 h 91"/>
                <a:gd name="T22" fmla="*/ 9 w 77"/>
                <a:gd name="T23" fmla="*/ 30 h 91"/>
                <a:gd name="T24" fmla="*/ 2 w 77"/>
                <a:gd name="T25" fmla="*/ 32 h 91"/>
                <a:gd name="T26" fmla="*/ 4 w 77"/>
                <a:gd name="T27" fmla="*/ 44 h 91"/>
                <a:gd name="T28" fmla="*/ 10 w 77"/>
                <a:gd name="T29" fmla="*/ 46 h 91"/>
                <a:gd name="T30" fmla="*/ 11 w 77"/>
                <a:gd name="T31" fmla="*/ 54 h 91"/>
                <a:gd name="T32" fmla="*/ 19 w 77"/>
                <a:gd name="T33" fmla="*/ 56 h 91"/>
                <a:gd name="T34" fmla="*/ 21 w 77"/>
                <a:gd name="T35" fmla="*/ 57 h 91"/>
                <a:gd name="T36" fmla="*/ 27 w 77"/>
                <a:gd name="T37" fmla="*/ 61 h 91"/>
                <a:gd name="T38" fmla="*/ 32 w 77"/>
                <a:gd name="T39" fmla="*/ 61 h 91"/>
                <a:gd name="T40" fmla="*/ 40 w 77"/>
                <a:gd name="T41" fmla="*/ 63 h 91"/>
                <a:gd name="T42" fmla="*/ 38 w 77"/>
                <a:gd name="T43" fmla="*/ 66 h 91"/>
                <a:gd name="T44" fmla="*/ 35 w 77"/>
                <a:gd name="T45" fmla="*/ 67 h 91"/>
                <a:gd name="T46" fmla="*/ 30 w 77"/>
                <a:gd name="T47" fmla="*/ 66 h 91"/>
                <a:gd name="T48" fmla="*/ 22 w 77"/>
                <a:gd name="T49" fmla="*/ 68 h 91"/>
                <a:gd name="T50" fmla="*/ 24 w 77"/>
                <a:gd name="T51" fmla="*/ 78 h 91"/>
                <a:gd name="T52" fmla="*/ 43 w 77"/>
                <a:gd name="T53" fmla="*/ 91 h 91"/>
                <a:gd name="T54" fmla="*/ 66 w 77"/>
                <a:gd name="T55" fmla="*/ 85 h 91"/>
                <a:gd name="T56" fmla="*/ 77 w 77"/>
                <a:gd name="T57" fmla="*/ 53 h 91"/>
                <a:gd name="T58" fmla="*/ 50 w 77"/>
                <a:gd name="T59" fmla="*/ 65 h 91"/>
                <a:gd name="T60" fmla="*/ 47 w 77"/>
                <a:gd name="T61" fmla="*/ 61 h 91"/>
                <a:gd name="T62" fmla="*/ 49 w 77"/>
                <a:gd name="T63" fmla="*/ 61 h 91"/>
                <a:gd name="T64" fmla="*/ 56 w 77"/>
                <a:gd name="T65" fmla="*/ 65 h 91"/>
                <a:gd name="T66" fmla="*/ 52 w 77"/>
                <a:gd name="T67" fmla="*/ 67 h 91"/>
                <a:gd name="T68" fmla="*/ 39 w 77"/>
                <a:gd name="T69" fmla="*/ 48 h 91"/>
                <a:gd name="T70" fmla="*/ 37 w 77"/>
                <a:gd name="T71" fmla="*/ 5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7" h="91">
                  <a:moveTo>
                    <a:pt x="73" y="51"/>
                  </a:moveTo>
                  <a:cubicBezTo>
                    <a:pt x="71" y="51"/>
                    <a:pt x="70" y="50"/>
                    <a:pt x="68" y="49"/>
                  </a:cubicBezTo>
                  <a:cubicBezTo>
                    <a:pt x="68" y="49"/>
                    <a:pt x="68" y="48"/>
                    <a:pt x="68" y="46"/>
                  </a:cubicBezTo>
                  <a:cubicBezTo>
                    <a:pt x="68" y="45"/>
                    <a:pt x="68" y="44"/>
                    <a:pt x="67" y="43"/>
                  </a:cubicBezTo>
                  <a:cubicBezTo>
                    <a:pt x="67" y="41"/>
                    <a:pt x="67" y="40"/>
                    <a:pt x="67" y="38"/>
                  </a:cubicBezTo>
                  <a:cubicBezTo>
                    <a:pt x="67" y="37"/>
                    <a:pt x="67" y="35"/>
                    <a:pt x="67" y="34"/>
                  </a:cubicBezTo>
                  <a:cubicBezTo>
                    <a:pt x="67" y="33"/>
                    <a:pt x="67" y="32"/>
                    <a:pt x="67" y="31"/>
                  </a:cubicBezTo>
                  <a:cubicBezTo>
                    <a:pt x="66" y="28"/>
                    <a:pt x="66" y="24"/>
                    <a:pt x="65" y="21"/>
                  </a:cubicBezTo>
                  <a:cubicBezTo>
                    <a:pt x="63" y="17"/>
                    <a:pt x="59" y="16"/>
                    <a:pt x="56" y="15"/>
                  </a:cubicBezTo>
                  <a:cubicBezTo>
                    <a:pt x="56" y="15"/>
                    <a:pt x="55" y="15"/>
                    <a:pt x="55" y="15"/>
                  </a:cubicBezTo>
                  <a:cubicBezTo>
                    <a:pt x="55" y="14"/>
                    <a:pt x="55" y="14"/>
                    <a:pt x="55" y="13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56" y="7"/>
                    <a:pt x="55" y="5"/>
                    <a:pt x="54" y="4"/>
                  </a:cubicBezTo>
                  <a:cubicBezTo>
                    <a:pt x="51" y="2"/>
                    <a:pt x="46" y="0"/>
                    <a:pt x="41" y="0"/>
                  </a:cubicBezTo>
                  <a:cubicBezTo>
                    <a:pt x="35" y="0"/>
                    <a:pt x="34" y="4"/>
                    <a:pt x="33" y="5"/>
                  </a:cubicBezTo>
                  <a:cubicBezTo>
                    <a:pt x="33" y="6"/>
                    <a:pt x="33" y="7"/>
                    <a:pt x="33" y="8"/>
                  </a:cubicBezTo>
                  <a:cubicBezTo>
                    <a:pt x="33" y="8"/>
                    <a:pt x="33" y="8"/>
                    <a:pt x="32" y="8"/>
                  </a:cubicBezTo>
                  <a:cubicBezTo>
                    <a:pt x="31" y="8"/>
                    <a:pt x="30" y="7"/>
                    <a:pt x="28" y="7"/>
                  </a:cubicBezTo>
                  <a:cubicBezTo>
                    <a:pt x="26" y="7"/>
                    <a:pt x="25" y="8"/>
                    <a:pt x="23" y="9"/>
                  </a:cubicBezTo>
                  <a:cubicBezTo>
                    <a:pt x="21" y="12"/>
                    <a:pt x="20" y="16"/>
                    <a:pt x="22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0" y="19"/>
                    <a:pt x="19" y="19"/>
                    <a:pt x="18" y="19"/>
                  </a:cubicBezTo>
                  <a:cubicBezTo>
                    <a:pt x="11" y="19"/>
                    <a:pt x="11" y="24"/>
                    <a:pt x="10" y="27"/>
                  </a:cubicBezTo>
                  <a:cubicBezTo>
                    <a:pt x="10" y="30"/>
                    <a:pt x="9" y="30"/>
                    <a:pt x="9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6" y="30"/>
                    <a:pt x="4" y="30"/>
                    <a:pt x="2" y="32"/>
                  </a:cubicBezTo>
                  <a:cubicBezTo>
                    <a:pt x="1" y="34"/>
                    <a:pt x="0" y="36"/>
                    <a:pt x="1" y="38"/>
                  </a:cubicBezTo>
                  <a:cubicBezTo>
                    <a:pt x="1" y="41"/>
                    <a:pt x="2" y="43"/>
                    <a:pt x="4" y="44"/>
                  </a:cubicBezTo>
                  <a:cubicBezTo>
                    <a:pt x="6" y="45"/>
                    <a:pt x="7" y="45"/>
                    <a:pt x="9" y="46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10" y="46"/>
                    <a:pt x="10" y="47"/>
                    <a:pt x="10" y="47"/>
                  </a:cubicBezTo>
                  <a:cubicBezTo>
                    <a:pt x="10" y="49"/>
                    <a:pt x="9" y="51"/>
                    <a:pt x="11" y="54"/>
                  </a:cubicBezTo>
                  <a:cubicBezTo>
                    <a:pt x="12" y="56"/>
                    <a:pt x="14" y="56"/>
                    <a:pt x="16" y="56"/>
                  </a:cubicBezTo>
                  <a:cubicBezTo>
                    <a:pt x="17" y="56"/>
                    <a:pt x="18" y="56"/>
                    <a:pt x="19" y="56"/>
                  </a:cubicBezTo>
                  <a:cubicBezTo>
                    <a:pt x="19" y="56"/>
                    <a:pt x="20" y="56"/>
                    <a:pt x="20" y="56"/>
                  </a:cubicBezTo>
                  <a:cubicBezTo>
                    <a:pt x="20" y="56"/>
                    <a:pt x="21" y="57"/>
                    <a:pt x="21" y="57"/>
                  </a:cubicBezTo>
                  <a:cubicBezTo>
                    <a:pt x="22" y="58"/>
                    <a:pt x="23" y="60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9" y="61"/>
                    <a:pt x="31" y="60"/>
                    <a:pt x="32" y="59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6" y="63"/>
                    <a:pt x="38" y="63"/>
                    <a:pt x="40" y="63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39" y="64"/>
                    <a:pt x="39" y="65"/>
                    <a:pt x="38" y="66"/>
                  </a:cubicBezTo>
                  <a:cubicBezTo>
                    <a:pt x="38" y="66"/>
                    <a:pt x="38" y="66"/>
                    <a:pt x="37" y="66"/>
                  </a:cubicBezTo>
                  <a:cubicBezTo>
                    <a:pt x="36" y="67"/>
                    <a:pt x="36" y="67"/>
                    <a:pt x="35" y="67"/>
                  </a:cubicBezTo>
                  <a:cubicBezTo>
                    <a:pt x="34" y="67"/>
                    <a:pt x="32" y="67"/>
                    <a:pt x="31" y="66"/>
                  </a:cubicBezTo>
                  <a:cubicBezTo>
                    <a:pt x="31" y="66"/>
                    <a:pt x="30" y="66"/>
                    <a:pt x="30" y="66"/>
                  </a:cubicBezTo>
                  <a:cubicBezTo>
                    <a:pt x="29" y="66"/>
                    <a:pt x="28" y="65"/>
                    <a:pt x="27" y="65"/>
                  </a:cubicBezTo>
                  <a:cubicBezTo>
                    <a:pt x="25" y="65"/>
                    <a:pt x="23" y="66"/>
                    <a:pt x="22" y="68"/>
                  </a:cubicBezTo>
                  <a:cubicBezTo>
                    <a:pt x="20" y="71"/>
                    <a:pt x="22" y="75"/>
                    <a:pt x="23" y="77"/>
                  </a:cubicBezTo>
                  <a:cubicBezTo>
                    <a:pt x="23" y="78"/>
                    <a:pt x="24" y="78"/>
                    <a:pt x="24" y="78"/>
                  </a:cubicBezTo>
                  <a:cubicBezTo>
                    <a:pt x="28" y="90"/>
                    <a:pt x="36" y="91"/>
                    <a:pt x="43" y="91"/>
                  </a:cubicBezTo>
                  <a:cubicBezTo>
                    <a:pt x="43" y="91"/>
                    <a:pt x="43" y="91"/>
                    <a:pt x="43" y="91"/>
                  </a:cubicBezTo>
                  <a:cubicBezTo>
                    <a:pt x="46" y="91"/>
                    <a:pt x="49" y="91"/>
                    <a:pt x="53" y="90"/>
                  </a:cubicBezTo>
                  <a:cubicBezTo>
                    <a:pt x="57" y="90"/>
                    <a:pt x="61" y="88"/>
                    <a:pt x="66" y="85"/>
                  </a:cubicBezTo>
                  <a:cubicBezTo>
                    <a:pt x="67" y="84"/>
                    <a:pt x="67" y="84"/>
                    <a:pt x="67" y="84"/>
                  </a:cubicBezTo>
                  <a:cubicBezTo>
                    <a:pt x="77" y="53"/>
                    <a:pt x="77" y="53"/>
                    <a:pt x="77" y="53"/>
                  </a:cubicBezTo>
                  <a:lnTo>
                    <a:pt x="73" y="51"/>
                  </a:lnTo>
                  <a:close/>
                  <a:moveTo>
                    <a:pt x="50" y="65"/>
                  </a:moveTo>
                  <a:cubicBezTo>
                    <a:pt x="49" y="64"/>
                    <a:pt x="48" y="62"/>
                    <a:pt x="46" y="62"/>
                  </a:cubicBezTo>
                  <a:cubicBezTo>
                    <a:pt x="46" y="62"/>
                    <a:pt x="47" y="61"/>
                    <a:pt x="47" y="61"/>
                  </a:cubicBezTo>
                  <a:cubicBezTo>
                    <a:pt x="47" y="61"/>
                    <a:pt x="48" y="60"/>
                    <a:pt x="48" y="60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50" y="63"/>
                    <a:pt x="51" y="64"/>
                    <a:pt x="54" y="64"/>
                  </a:cubicBezTo>
                  <a:cubicBezTo>
                    <a:pt x="55" y="64"/>
                    <a:pt x="56" y="64"/>
                    <a:pt x="56" y="65"/>
                  </a:cubicBezTo>
                  <a:cubicBezTo>
                    <a:pt x="57" y="65"/>
                    <a:pt x="57" y="65"/>
                    <a:pt x="58" y="65"/>
                  </a:cubicBezTo>
                  <a:cubicBezTo>
                    <a:pt x="56" y="66"/>
                    <a:pt x="54" y="67"/>
                    <a:pt x="52" y="67"/>
                  </a:cubicBezTo>
                  <a:cubicBezTo>
                    <a:pt x="52" y="67"/>
                    <a:pt x="50" y="66"/>
                    <a:pt x="50" y="65"/>
                  </a:cubicBezTo>
                  <a:close/>
                  <a:moveTo>
                    <a:pt x="39" y="48"/>
                  </a:moveTo>
                  <a:cubicBezTo>
                    <a:pt x="39" y="49"/>
                    <a:pt x="39" y="49"/>
                    <a:pt x="38" y="49"/>
                  </a:cubicBezTo>
                  <a:cubicBezTo>
                    <a:pt x="38" y="49"/>
                    <a:pt x="37" y="50"/>
                    <a:pt x="37" y="50"/>
                  </a:cubicBezTo>
                  <a:cubicBezTo>
                    <a:pt x="37" y="49"/>
                    <a:pt x="38" y="49"/>
                    <a:pt x="39" y="48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0" name="Freeform 86"/>
            <p:cNvSpPr>
              <a:spLocks/>
            </p:cNvSpPr>
            <p:nvPr/>
          </p:nvSpPr>
          <p:spPr bwMode="auto">
            <a:xfrm>
              <a:off x="16870731" y="3273350"/>
              <a:ext cx="98484" cy="69063"/>
            </a:xfrm>
            <a:custGeom>
              <a:avLst/>
              <a:gdLst>
                <a:gd name="T0" fmla="*/ 17 w 18"/>
                <a:gd name="T1" fmla="*/ 6 h 14"/>
                <a:gd name="T2" fmla="*/ 7 w 18"/>
                <a:gd name="T3" fmla="*/ 0 h 14"/>
                <a:gd name="T4" fmla="*/ 6 w 18"/>
                <a:gd name="T5" fmla="*/ 0 h 14"/>
                <a:gd name="T6" fmla="*/ 1 w 18"/>
                <a:gd name="T7" fmla="*/ 3 h 14"/>
                <a:gd name="T8" fmla="*/ 2 w 18"/>
                <a:gd name="T9" fmla="*/ 8 h 14"/>
                <a:gd name="T10" fmla="*/ 10 w 18"/>
                <a:gd name="T11" fmla="*/ 14 h 14"/>
                <a:gd name="T12" fmla="*/ 11 w 18"/>
                <a:gd name="T13" fmla="*/ 14 h 14"/>
                <a:gd name="T14" fmla="*/ 17 w 18"/>
                <a:gd name="T15" fmla="*/ 11 h 14"/>
                <a:gd name="T16" fmla="*/ 17 w 18"/>
                <a:gd name="T17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14">
                  <a:moveTo>
                    <a:pt x="17" y="6"/>
                  </a:moveTo>
                  <a:cubicBezTo>
                    <a:pt x="15" y="3"/>
                    <a:pt x="9" y="1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2" y="2"/>
                    <a:pt x="1" y="3"/>
                  </a:cubicBezTo>
                  <a:cubicBezTo>
                    <a:pt x="1" y="4"/>
                    <a:pt x="0" y="6"/>
                    <a:pt x="2" y="8"/>
                  </a:cubicBezTo>
                  <a:cubicBezTo>
                    <a:pt x="3" y="11"/>
                    <a:pt x="7" y="14"/>
                    <a:pt x="10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3" y="14"/>
                    <a:pt x="16" y="13"/>
                    <a:pt x="17" y="11"/>
                  </a:cubicBezTo>
                  <a:cubicBezTo>
                    <a:pt x="18" y="9"/>
                    <a:pt x="18" y="7"/>
                    <a:pt x="17" y="6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1" name="Freeform 88"/>
            <p:cNvSpPr>
              <a:spLocks/>
            </p:cNvSpPr>
            <p:nvPr/>
          </p:nvSpPr>
          <p:spPr bwMode="auto">
            <a:xfrm>
              <a:off x="18255662" y="4785272"/>
              <a:ext cx="96432" cy="69063"/>
            </a:xfrm>
            <a:custGeom>
              <a:avLst/>
              <a:gdLst>
                <a:gd name="T0" fmla="*/ 17 w 18"/>
                <a:gd name="T1" fmla="*/ 7 h 14"/>
                <a:gd name="T2" fmla="*/ 6 w 18"/>
                <a:gd name="T3" fmla="*/ 0 h 14"/>
                <a:gd name="T4" fmla="*/ 2 w 18"/>
                <a:gd name="T5" fmla="*/ 2 h 14"/>
                <a:gd name="T6" fmla="*/ 0 w 18"/>
                <a:gd name="T7" fmla="*/ 7 h 14"/>
                <a:gd name="T8" fmla="*/ 3 w 18"/>
                <a:gd name="T9" fmla="*/ 11 h 14"/>
                <a:gd name="T10" fmla="*/ 5 w 18"/>
                <a:gd name="T11" fmla="*/ 11 h 14"/>
                <a:gd name="T12" fmla="*/ 7 w 18"/>
                <a:gd name="T13" fmla="*/ 11 h 14"/>
                <a:gd name="T14" fmla="*/ 8 w 18"/>
                <a:gd name="T15" fmla="*/ 12 h 14"/>
                <a:gd name="T16" fmla="*/ 13 w 18"/>
                <a:gd name="T17" fmla="*/ 14 h 14"/>
                <a:gd name="T18" fmla="*/ 16 w 18"/>
                <a:gd name="T19" fmla="*/ 13 h 14"/>
                <a:gd name="T20" fmla="*/ 17 w 18"/>
                <a:gd name="T21" fmla="*/ 7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14">
                  <a:moveTo>
                    <a:pt x="17" y="7"/>
                  </a:moveTo>
                  <a:cubicBezTo>
                    <a:pt x="16" y="4"/>
                    <a:pt x="11" y="0"/>
                    <a:pt x="6" y="0"/>
                  </a:cubicBezTo>
                  <a:cubicBezTo>
                    <a:pt x="5" y="0"/>
                    <a:pt x="3" y="1"/>
                    <a:pt x="2" y="2"/>
                  </a:cubicBezTo>
                  <a:cubicBezTo>
                    <a:pt x="1" y="3"/>
                    <a:pt x="0" y="5"/>
                    <a:pt x="0" y="7"/>
                  </a:cubicBezTo>
                  <a:cubicBezTo>
                    <a:pt x="0" y="9"/>
                    <a:pt x="1" y="10"/>
                    <a:pt x="3" y="11"/>
                  </a:cubicBezTo>
                  <a:cubicBezTo>
                    <a:pt x="4" y="11"/>
                    <a:pt x="4" y="11"/>
                    <a:pt x="5" y="11"/>
                  </a:cubicBezTo>
                  <a:cubicBezTo>
                    <a:pt x="6" y="11"/>
                    <a:pt x="7" y="11"/>
                    <a:pt x="7" y="11"/>
                  </a:cubicBezTo>
                  <a:cubicBezTo>
                    <a:pt x="8" y="11"/>
                    <a:pt x="8" y="12"/>
                    <a:pt x="8" y="12"/>
                  </a:cubicBezTo>
                  <a:cubicBezTo>
                    <a:pt x="9" y="13"/>
                    <a:pt x="11" y="14"/>
                    <a:pt x="13" y="14"/>
                  </a:cubicBezTo>
                  <a:cubicBezTo>
                    <a:pt x="14" y="14"/>
                    <a:pt x="15" y="13"/>
                    <a:pt x="16" y="13"/>
                  </a:cubicBezTo>
                  <a:cubicBezTo>
                    <a:pt x="18" y="11"/>
                    <a:pt x="18" y="9"/>
                    <a:pt x="17" y="7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2" name="Freeform 90"/>
            <p:cNvSpPr>
              <a:spLocks/>
            </p:cNvSpPr>
            <p:nvPr/>
          </p:nvSpPr>
          <p:spPr bwMode="auto">
            <a:xfrm>
              <a:off x="17256460" y="3695195"/>
              <a:ext cx="110794" cy="98928"/>
            </a:xfrm>
            <a:custGeom>
              <a:avLst/>
              <a:gdLst>
                <a:gd name="T0" fmla="*/ 19 w 20"/>
                <a:gd name="T1" fmla="*/ 4 h 20"/>
                <a:gd name="T2" fmla="*/ 12 w 20"/>
                <a:gd name="T3" fmla="*/ 0 h 20"/>
                <a:gd name="T4" fmla="*/ 1 w 20"/>
                <a:gd name="T5" fmla="*/ 10 h 20"/>
                <a:gd name="T6" fmla="*/ 8 w 20"/>
                <a:gd name="T7" fmla="*/ 20 h 20"/>
                <a:gd name="T8" fmla="*/ 11 w 20"/>
                <a:gd name="T9" fmla="*/ 20 h 20"/>
                <a:gd name="T10" fmla="*/ 11 w 20"/>
                <a:gd name="T11" fmla="*/ 20 h 20"/>
                <a:gd name="T12" fmla="*/ 18 w 20"/>
                <a:gd name="T13" fmla="*/ 16 h 20"/>
                <a:gd name="T14" fmla="*/ 19 w 20"/>
                <a:gd name="T15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0">
                  <a:moveTo>
                    <a:pt x="19" y="4"/>
                  </a:moveTo>
                  <a:cubicBezTo>
                    <a:pt x="17" y="0"/>
                    <a:pt x="14" y="0"/>
                    <a:pt x="12" y="0"/>
                  </a:cubicBezTo>
                  <a:cubicBezTo>
                    <a:pt x="7" y="0"/>
                    <a:pt x="2" y="6"/>
                    <a:pt x="1" y="10"/>
                  </a:cubicBezTo>
                  <a:cubicBezTo>
                    <a:pt x="0" y="15"/>
                    <a:pt x="2" y="18"/>
                    <a:pt x="8" y="20"/>
                  </a:cubicBezTo>
                  <a:cubicBezTo>
                    <a:pt x="9" y="20"/>
                    <a:pt x="10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4" y="20"/>
                    <a:pt x="16" y="19"/>
                    <a:pt x="18" y="16"/>
                  </a:cubicBezTo>
                  <a:cubicBezTo>
                    <a:pt x="20" y="13"/>
                    <a:pt x="20" y="8"/>
                    <a:pt x="19" y="4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3" name="Freeform 92"/>
            <p:cNvSpPr>
              <a:spLocks noEditPoints="1"/>
            </p:cNvSpPr>
            <p:nvPr/>
          </p:nvSpPr>
          <p:spPr bwMode="auto">
            <a:xfrm>
              <a:off x="17334426" y="3450674"/>
              <a:ext cx="385729" cy="391980"/>
            </a:xfrm>
            <a:custGeom>
              <a:avLst/>
              <a:gdLst>
                <a:gd name="T0" fmla="*/ 69 w 71"/>
                <a:gd name="T1" fmla="*/ 23 h 79"/>
                <a:gd name="T2" fmla="*/ 60 w 71"/>
                <a:gd name="T3" fmla="*/ 11 h 79"/>
                <a:gd name="T4" fmla="*/ 54 w 71"/>
                <a:gd name="T5" fmla="*/ 12 h 79"/>
                <a:gd name="T6" fmla="*/ 46 w 71"/>
                <a:gd name="T7" fmla="*/ 9 h 79"/>
                <a:gd name="T8" fmla="*/ 41 w 71"/>
                <a:gd name="T9" fmla="*/ 3 h 79"/>
                <a:gd name="T10" fmla="*/ 35 w 71"/>
                <a:gd name="T11" fmla="*/ 5 h 79"/>
                <a:gd name="T12" fmla="*/ 34 w 71"/>
                <a:gd name="T13" fmla="*/ 6 h 79"/>
                <a:gd name="T14" fmla="*/ 31 w 71"/>
                <a:gd name="T15" fmla="*/ 13 h 79"/>
                <a:gd name="T16" fmla="*/ 29 w 71"/>
                <a:gd name="T17" fmla="*/ 13 h 79"/>
                <a:gd name="T18" fmla="*/ 23 w 71"/>
                <a:gd name="T19" fmla="*/ 21 h 79"/>
                <a:gd name="T20" fmla="*/ 19 w 71"/>
                <a:gd name="T21" fmla="*/ 17 h 79"/>
                <a:gd name="T22" fmla="*/ 19 w 71"/>
                <a:gd name="T23" fmla="*/ 9 h 79"/>
                <a:gd name="T24" fmla="*/ 15 w 71"/>
                <a:gd name="T25" fmla="*/ 5 h 79"/>
                <a:gd name="T26" fmla="*/ 11 w 71"/>
                <a:gd name="T27" fmla="*/ 1 h 79"/>
                <a:gd name="T28" fmla="*/ 2 w 71"/>
                <a:gd name="T29" fmla="*/ 3 h 79"/>
                <a:gd name="T30" fmla="*/ 2 w 71"/>
                <a:gd name="T31" fmla="*/ 11 h 79"/>
                <a:gd name="T32" fmla="*/ 2 w 71"/>
                <a:gd name="T33" fmla="*/ 16 h 79"/>
                <a:gd name="T34" fmla="*/ 2 w 71"/>
                <a:gd name="T35" fmla="*/ 23 h 79"/>
                <a:gd name="T36" fmla="*/ 6 w 71"/>
                <a:gd name="T37" fmla="*/ 31 h 79"/>
                <a:gd name="T38" fmla="*/ 10 w 71"/>
                <a:gd name="T39" fmla="*/ 40 h 79"/>
                <a:gd name="T40" fmla="*/ 11 w 71"/>
                <a:gd name="T41" fmla="*/ 41 h 79"/>
                <a:gd name="T42" fmla="*/ 13 w 71"/>
                <a:gd name="T43" fmla="*/ 47 h 79"/>
                <a:gd name="T44" fmla="*/ 19 w 71"/>
                <a:gd name="T45" fmla="*/ 52 h 79"/>
                <a:gd name="T46" fmla="*/ 26 w 71"/>
                <a:gd name="T47" fmla="*/ 51 h 79"/>
                <a:gd name="T48" fmla="*/ 33 w 71"/>
                <a:gd name="T49" fmla="*/ 52 h 79"/>
                <a:gd name="T50" fmla="*/ 39 w 71"/>
                <a:gd name="T51" fmla="*/ 51 h 79"/>
                <a:gd name="T52" fmla="*/ 40 w 71"/>
                <a:gd name="T53" fmla="*/ 51 h 79"/>
                <a:gd name="T54" fmla="*/ 31 w 71"/>
                <a:gd name="T55" fmla="*/ 58 h 79"/>
                <a:gd name="T56" fmla="*/ 31 w 71"/>
                <a:gd name="T57" fmla="*/ 65 h 79"/>
                <a:gd name="T58" fmla="*/ 31 w 71"/>
                <a:gd name="T59" fmla="*/ 71 h 79"/>
                <a:gd name="T60" fmla="*/ 37 w 71"/>
                <a:gd name="T61" fmla="*/ 78 h 79"/>
                <a:gd name="T62" fmla="*/ 41 w 71"/>
                <a:gd name="T63" fmla="*/ 77 h 79"/>
                <a:gd name="T64" fmla="*/ 42 w 71"/>
                <a:gd name="T65" fmla="*/ 77 h 79"/>
                <a:gd name="T66" fmla="*/ 47 w 71"/>
                <a:gd name="T67" fmla="*/ 79 h 79"/>
                <a:gd name="T68" fmla="*/ 53 w 71"/>
                <a:gd name="T69" fmla="*/ 79 h 79"/>
                <a:gd name="T70" fmla="*/ 58 w 71"/>
                <a:gd name="T71" fmla="*/ 78 h 79"/>
                <a:gd name="T72" fmla="*/ 62 w 71"/>
                <a:gd name="T73" fmla="*/ 67 h 79"/>
                <a:gd name="T74" fmla="*/ 63 w 71"/>
                <a:gd name="T75" fmla="*/ 62 h 79"/>
                <a:gd name="T76" fmla="*/ 67 w 71"/>
                <a:gd name="T77" fmla="*/ 51 h 79"/>
                <a:gd name="T78" fmla="*/ 66 w 71"/>
                <a:gd name="T79" fmla="*/ 46 h 79"/>
                <a:gd name="T80" fmla="*/ 69 w 71"/>
                <a:gd name="T81" fmla="*/ 39 h 79"/>
                <a:gd name="T82" fmla="*/ 23 w 71"/>
                <a:gd name="T83" fmla="*/ 25 h 79"/>
                <a:gd name="T84" fmla="*/ 23 w 71"/>
                <a:gd name="T85" fmla="*/ 26 h 79"/>
                <a:gd name="T86" fmla="*/ 23 w 71"/>
                <a:gd name="T87" fmla="*/ 25 h 79"/>
                <a:gd name="T88" fmla="*/ 35 w 71"/>
                <a:gd name="T89" fmla="*/ 16 h 79"/>
                <a:gd name="T90" fmla="*/ 35 w 71"/>
                <a:gd name="T91" fmla="*/ 16 h 79"/>
                <a:gd name="T92" fmla="*/ 40 w 71"/>
                <a:gd name="T93" fmla="*/ 28 h 79"/>
                <a:gd name="T94" fmla="*/ 37 w 71"/>
                <a:gd name="T95" fmla="*/ 22 h 79"/>
                <a:gd name="T96" fmla="*/ 36 w 71"/>
                <a:gd name="T97" fmla="*/ 18 h 79"/>
                <a:gd name="T98" fmla="*/ 40 w 71"/>
                <a:gd name="T99" fmla="*/ 22 h 79"/>
                <a:gd name="T100" fmla="*/ 43 w 71"/>
                <a:gd name="T101" fmla="*/ 3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1" h="79">
                  <a:moveTo>
                    <a:pt x="69" y="26"/>
                  </a:moveTo>
                  <a:cubicBezTo>
                    <a:pt x="69" y="25"/>
                    <a:pt x="69" y="24"/>
                    <a:pt x="69" y="23"/>
                  </a:cubicBezTo>
                  <a:cubicBezTo>
                    <a:pt x="68" y="20"/>
                    <a:pt x="68" y="18"/>
                    <a:pt x="67" y="16"/>
                  </a:cubicBezTo>
                  <a:cubicBezTo>
                    <a:pt x="66" y="13"/>
                    <a:pt x="63" y="11"/>
                    <a:pt x="60" y="11"/>
                  </a:cubicBezTo>
                  <a:cubicBezTo>
                    <a:pt x="58" y="11"/>
                    <a:pt x="57" y="11"/>
                    <a:pt x="55" y="12"/>
                  </a:cubicBezTo>
                  <a:cubicBezTo>
                    <a:pt x="55" y="12"/>
                    <a:pt x="54" y="12"/>
                    <a:pt x="54" y="12"/>
                  </a:cubicBezTo>
                  <a:cubicBezTo>
                    <a:pt x="52" y="10"/>
                    <a:pt x="51" y="9"/>
                    <a:pt x="47" y="8"/>
                  </a:cubicBezTo>
                  <a:cubicBezTo>
                    <a:pt x="47" y="8"/>
                    <a:pt x="47" y="9"/>
                    <a:pt x="46" y="9"/>
                  </a:cubicBezTo>
                  <a:cubicBezTo>
                    <a:pt x="47" y="7"/>
                    <a:pt x="46" y="6"/>
                    <a:pt x="46" y="5"/>
                  </a:cubicBezTo>
                  <a:cubicBezTo>
                    <a:pt x="45" y="3"/>
                    <a:pt x="43" y="3"/>
                    <a:pt x="41" y="3"/>
                  </a:cubicBezTo>
                  <a:cubicBezTo>
                    <a:pt x="39" y="3"/>
                    <a:pt x="38" y="3"/>
                    <a:pt x="36" y="4"/>
                  </a:cubicBezTo>
                  <a:cubicBezTo>
                    <a:pt x="36" y="4"/>
                    <a:pt x="36" y="5"/>
                    <a:pt x="35" y="5"/>
                  </a:cubicBezTo>
                  <a:cubicBezTo>
                    <a:pt x="35" y="5"/>
                    <a:pt x="35" y="5"/>
                    <a:pt x="35" y="6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3" y="6"/>
                    <a:pt x="32" y="7"/>
                    <a:pt x="31" y="8"/>
                  </a:cubicBezTo>
                  <a:cubicBezTo>
                    <a:pt x="30" y="9"/>
                    <a:pt x="30" y="11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0" y="13"/>
                    <a:pt x="29" y="13"/>
                  </a:cubicBezTo>
                  <a:cubicBezTo>
                    <a:pt x="28" y="13"/>
                    <a:pt x="26" y="14"/>
                    <a:pt x="25" y="15"/>
                  </a:cubicBezTo>
                  <a:cubicBezTo>
                    <a:pt x="24" y="16"/>
                    <a:pt x="23" y="19"/>
                    <a:pt x="23" y="21"/>
                  </a:cubicBezTo>
                  <a:cubicBezTo>
                    <a:pt x="23" y="20"/>
                    <a:pt x="23" y="19"/>
                    <a:pt x="22" y="19"/>
                  </a:cubicBezTo>
                  <a:cubicBezTo>
                    <a:pt x="22" y="18"/>
                    <a:pt x="20" y="17"/>
                    <a:pt x="19" y="17"/>
                  </a:cubicBezTo>
                  <a:cubicBezTo>
                    <a:pt x="19" y="17"/>
                    <a:pt x="19" y="16"/>
                    <a:pt x="20" y="16"/>
                  </a:cubicBezTo>
                  <a:cubicBezTo>
                    <a:pt x="20" y="14"/>
                    <a:pt x="20" y="11"/>
                    <a:pt x="19" y="9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6" y="6"/>
                    <a:pt x="16" y="6"/>
                    <a:pt x="15" y="5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4" y="3"/>
                    <a:pt x="13" y="2"/>
                    <a:pt x="11" y="1"/>
                  </a:cubicBezTo>
                  <a:cubicBezTo>
                    <a:pt x="10" y="1"/>
                    <a:pt x="9" y="0"/>
                    <a:pt x="8" y="0"/>
                  </a:cubicBezTo>
                  <a:cubicBezTo>
                    <a:pt x="5" y="0"/>
                    <a:pt x="3" y="1"/>
                    <a:pt x="2" y="3"/>
                  </a:cubicBezTo>
                  <a:cubicBezTo>
                    <a:pt x="0" y="5"/>
                    <a:pt x="0" y="8"/>
                    <a:pt x="1" y="10"/>
                  </a:cubicBezTo>
                  <a:cubicBezTo>
                    <a:pt x="1" y="11"/>
                    <a:pt x="2" y="11"/>
                    <a:pt x="2" y="11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3"/>
                    <a:pt x="2" y="15"/>
                    <a:pt x="2" y="16"/>
                  </a:cubicBezTo>
                  <a:cubicBezTo>
                    <a:pt x="3" y="17"/>
                    <a:pt x="4" y="18"/>
                    <a:pt x="5" y="19"/>
                  </a:cubicBezTo>
                  <a:cubicBezTo>
                    <a:pt x="3" y="20"/>
                    <a:pt x="2" y="22"/>
                    <a:pt x="2" y="23"/>
                  </a:cubicBezTo>
                  <a:cubicBezTo>
                    <a:pt x="1" y="26"/>
                    <a:pt x="2" y="28"/>
                    <a:pt x="3" y="29"/>
                  </a:cubicBezTo>
                  <a:cubicBezTo>
                    <a:pt x="4" y="30"/>
                    <a:pt x="5" y="31"/>
                    <a:pt x="6" y="31"/>
                  </a:cubicBezTo>
                  <a:cubicBezTo>
                    <a:pt x="6" y="32"/>
                    <a:pt x="5" y="33"/>
                    <a:pt x="6" y="35"/>
                  </a:cubicBezTo>
                  <a:cubicBezTo>
                    <a:pt x="6" y="37"/>
                    <a:pt x="8" y="39"/>
                    <a:pt x="10" y="40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1" y="40"/>
                    <a:pt x="11" y="41"/>
                    <a:pt x="11" y="41"/>
                  </a:cubicBezTo>
                  <a:cubicBezTo>
                    <a:pt x="12" y="42"/>
                    <a:pt x="13" y="42"/>
                    <a:pt x="14" y="43"/>
                  </a:cubicBezTo>
                  <a:cubicBezTo>
                    <a:pt x="13" y="44"/>
                    <a:pt x="13" y="45"/>
                    <a:pt x="13" y="47"/>
                  </a:cubicBezTo>
                  <a:cubicBezTo>
                    <a:pt x="14" y="48"/>
                    <a:pt x="15" y="51"/>
                    <a:pt x="18" y="52"/>
                  </a:cubicBezTo>
                  <a:cubicBezTo>
                    <a:pt x="18" y="52"/>
                    <a:pt x="19" y="52"/>
                    <a:pt x="19" y="52"/>
                  </a:cubicBezTo>
                  <a:cubicBezTo>
                    <a:pt x="20" y="52"/>
                    <a:pt x="22" y="52"/>
                    <a:pt x="23" y="52"/>
                  </a:cubicBezTo>
                  <a:cubicBezTo>
                    <a:pt x="24" y="51"/>
                    <a:pt x="25" y="51"/>
                    <a:pt x="26" y="51"/>
                  </a:cubicBezTo>
                  <a:cubicBezTo>
                    <a:pt x="27" y="51"/>
                    <a:pt x="28" y="51"/>
                    <a:pt x="29" y="52"/>
                  </a:cubicBezTo>
                  <a:cubicBezTo>
                    <a:pt x="30" y="52"/>
                    <a:pt x="31" y="52"/>
                    <a:pt x="33" y="52"/>
                  </a:cubicBezTo>
                  <a:cubicBezTo>
                    <a:pt x="34" y="52"/>
                    <a:pt x="35" y="51"/>
                    <a:pt x="37" y="51"/>
                  </a:cubicBezTo>
                  <a:cubicBezTo>
                    <a:pt x="38" y="51"/>
                    <a:pt x="38" y="51"/>
                    <a:pt x="39" y="51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2"/>
                    <a:pt x="38" y="52"/>
                    <a:pt x="37" y="53"/>
                  </a:cubicBezTo>
                  <a:cubicBezTo>
                    <a:pt x="35" y="54"/>
                    <a:pt x="33" y="55"/>
                    <a:pt x="31" y="58"/>
                  </a:cubicBezTo>
                  <a:cubicBezTo>
                    <a:pt x="30" y="60"/>
                    <a:pt x="31" y="62"/>
                    <a:pt x="31" y="63"/>
                  </a:cubicBezTo>
                  <a:cubicBezTo>
                    <a:pt x="31" y="64"/>
                    <a:pt x="31" y="64"/>
                    <a:pt x="31" y="65"/>
                  </a:cubicBezTo>
                  <a:cubicBezTo>
                    <a:pt x="31" y="66"/>
                    <a:pt x="31" y="67"/>
                    <a:pt x="31" y="68"/>
                  </a:cubicBezTo>
                  <a:cubicBezTo>
                    <a:pt x="31" y="69"/>
                    <a:pt x="31" y="70"/>
                    <a:pt x="31" y="71"/>
                  </a:cubicBezTo>
                  <a:cubicBezTo>
                    <a:pt x="31" y="73"/>
                    <a:pt x="31" y="75"/>
                    <a:pt x="32" y="76"/>
                  </a:cubicBezTo>
                  <a:cubicBezTo>
                    <a:pt x="33" y="77"/>
                    <a:pt x="35" y="78"/>
                    <a:pt x="37" y="78"/>
                  </a:cubicBezTo>
                  <a:cubicBezTo>
                    <a:pt x="38" y="78"/>
                    <a:pt x="39" y="77"/>
                    <a:pt x="40" y="77"/>
                  </a:cubicBezTo>
                  <a:cubicBezTo>
                    <a:pt x="41" y="77"/>
                    <a:pt x="41" y="77"/>
                    <a:pt x="41" y="77"/>
                  </a:cubicBezTo>
                  <a:cubicBezTo>
                    <a:pt x="41" y="77"/>
                    <a:pt x="41" y="77"/>
                    <a:pt x="41" y="77"/>
                  </a:cubicBezTo>
                  <a:cubicBezTo>
                    <a:pt x="41" y="77"/>
                    <a:pt x="42" y="77"/>
                    <a:pt x="42" y="77"/>
                  </a:cubicBezTo>
                  <a:cubicBezTo>
                    <a:pt x="43" y="78"/>
                    <a:pt x="44" y="79"/>
                    <a:pt x="46" y="79"/>
                  </a:cubicBezTo>
                  <a:cubicBezTo>
                    <a:pt x="47" y="79"/>
                    <a:pt x="47" y="79"/>
                    <a:pt x="47" y="79"/>
                  </a:cubicBezTo>
                  <a:cubicBezTo>
                    <a:pt x="48" y="79"/>
                    <a:pt x="49" y="79"/>
                    <a:pt x="50" y="79"/>
                  </a:cubicBezTo>
                  <a:cubicBezTo>
                    <a:pt x="51" y="79"/>
                    <a:pt x="52" y="79"/>
                    <a:pt x="53" y="79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5" y="79"/>
                    <a:pt x="57" y="79"/>
                    <a:pt x="58" y="78"/>
                  </a:cubicBezTo>
                  <a:cubicBezTo>
                    <a:pt x="61" y="76"/>
                    <a:pt x="62" y="72"/>
                    <a:pt x="62" y="70"/>
                  </a:cubicBezTo>
                  <a:cubicBezTo>
                    <a:pt x="62" y="69"/>
                    <a:pt x="62" y="68"/>
                    <a:pt x="62" y="67"/>
                  </a:cubicBezTo>
                  <a:cubicBezTo>
                    <a:pt x="62" y="65"/>
                    <a:pt x="62" y="64"/>
                    <a:pt x="62" y="64"/>
                  </a:cubicBezTo>
                  <a:cubicBezTo>
                    <a:pt x="62" y="63"/>
                    <a:pt x="63" y="63"/>
                    <a:pt x="63" y="62"/>
                  </a:cubicBezTo>
                  <a:cubicBezTo>
                    <a:pt x="64" y="62"/>
                    <a:pt x="65" y="61"/>
                    <a:pt x="65" y="60"/>
                  </a:cubicBezTo>
                  <a:cubicBezTo>
                    <a:pt x="68" y="57"/>
                    <a:pt x="67" y="54"/>
                    <a:pt x="67" y="51"/>
                  </a:cubicBezTo>
                  <a:cubicBezTo>
                    <a:pt x="67" y="51"/>
                    <a:pt x="67" y="50"/>
                    <a:pt x="67" y="50"/>
                  </a:cubicBezTo>
                  <a:cubicBezTo>
                    <a:pt x="66" y="48"/>
                    <a:pt x="66" y="47"/>
                    <a:pt x="66" y="46"/>
                  </a:cubicBezTo>
                  <a:cubicBezTo>
                    <a:pt x="67" y="45"/>
                    <a:pt x="67" y="44"/>
                    <a:pt x="68" y="42"/>
                  </a:cubicBezTo>
                  <a:cubicBezTo>
                    <a:pt x="68" y="41"/>
                    <a:pt x="69" y="40"/>
                    <a:pt x="69" y="39"/>
                  </a:cubicBezTo>
                  <a:cubicBezTo>
                    <a:pt x="71" y="34"/>
                    <a:pt x="70" y="30"/>
                    <a:pt x="69" y="26"/>
                  </a:cubicBezTo>
                  <a:close/>
                  <a:moveTo>
                    <a:pt x="23" y="25"/>
                  </a:moveTo>
                  <a:cubicBezTo>
                    <a:pt x="23" y="26"/>
                    <a:pt x="23" y="26"/>
                    <a:pt x="23" y="27"/>
                  </a:cubicBezTo>
                  <a:cubicBezTo>
                    <a:pt x="23" y="27"/>
                    <a:pt x="23" y="26"/>
                    <a:pt x="23" y="26"/>
                  </a:cubicBezTo>
                  <a:cubicBezTo>
                    <a:pt x="23" y="26"/>
                    <a:pt x="23" y="25"/>
                    <a:pt x="23" y="25"/>
                  </a:cubicBezTo>
                  <a:cubicBezTo>
                    <a:pt x="23" y="25"/>
                    <a:pt x="23" y="25"/>
                    <a:pt x="23" y="25"/>
                  </a:cubicBezTo>
                  <a:close/>
                  <a:moveTo>
                    <a:pt x="35" y="16"/>
                  </a:moveTo>
                  <a:cubicBezTo>
                    <a:pt x="35" y="16"/>
                    <a:pt x="35" y="16"/>
                    <a:pt x="35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7"/>
                    <a:pt x="35" y="16"/>
                    <a:pt x="35" y="16"/>
                  </a:cubicBezTo>
                  <a:close/>
                  <a:moveTo>
                    <a:pt x="43" y="30"/>
                  </a:moveTo>
                  <a:cubicBezTo>
                    <a:pt x="42" y="29"/>
                    <a:pt x="41" y="29"/>
                    <a:pt x="40" y="28"/>
                  </a:cubicBezTo>
                  <a:cubicBezTo>
                    <a:pt x="40" y="27"/>
                    <a:pt x="40" y="27"/>
                    <a:pt x="39" y="26"/>
                  </a:cubicBezTo>
                  <a:cubicBezTo>
                    <a:pt x="38" y="25"/>
                    <a:pt x="37" y="23"/>
                    <a:pt x="37" y="22"/>
                  </a:cubicBezTo>
                  <a:cubicBezTo>
                    <a:pt x="36" y="21"/>
                    <a:pt x="36" y="21"/>
                    <a:pt x="36" y="20"/>
                  </a:cubicBezTo>
                  <a:cubicBezTo>
                    <a:pt x="36" y="20"/>
                    <a:pt x="36" y="19"/>
                    <a:pt x="36" y="18"/>
                  </a:cubicBezTo>
                  <a:cubicBezTo>
                    <a:pt x="36" y="19"/>
                    <a:pt x="36" y="19"/>
                    <a:pt x="36" y="20"/>
                  </a:cubicBezTo>
                  <a:cubicBezTo>
                    <a:pt x="37" y="21"/>
                    <a:pt x="39" y="22"/>
                    <a:pt x="40" y="22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3" y="23"/>
                    <a:pt x="43" y="27"/>
                    <a:pt x="43" y="30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4" name="Freeform 27"/>
            <p:cNvSpPr>
              <a:spLocks noEditPoints="1"/>
            </p:cNvSpPr>
            <p:nvPr/>
          </p:nvSpPr>
          <p:spPr bwMode="auto">
            <a:xfrm>
              <a:off x="14109676" y="4001313"/>
              <a:ext cx="4704662" cy="2713993"/>
            </a:xfrm>
            <a:custGeom>
              <a:avLst/>
              <a:gdLst>
                <a:gd name="T0" fmla="*/ 834 w 863"/>
                <a:gd name="T1" fmla="*/ 311 h 547"/>
                <a:gd name="T2" fmla="*/ 792 w 863"/>
                <a:gd name="T3" fmla="*/ 284 h 547"/>
                <a:gd name="T4" fmla="*/ 774 w 863"/>
                <a:gd name="T5" fmla="*/ 241 h 547"/>
                <a:gd name="T6" fmla="*/ 848 w 863"/>
                <a:gd name="T7" fmla="*/ 263 h 547"/>
                <a:gd name="T8" fmla="*/ 847 w 863"/>
                <a:gd name="T9" fmla="*/ 195 h 547"/>
                <a:gd name="T10" fmla="*/ 790 w 863"/>
                <a:gd name="T11" fmla="*/ 178 h 547"/>
                <a:gd name="T12" fmla="*/ 735 w 863"/>
                <a:gd name="T13" fmla="*/ 169 h 547"/>
                <a:gd name="T14" fmla="*/ 725 w 863"/>
                <a:gd name="T15" fmla="*/ 129 h 547"/>
                <a:gd name="T16" fmla="*/ 689 w 863"/>
                <a:gd name="T17" fmla="*/ 93 h 547"/>
                <a:gd name="T18" fmla="*/ 665 w 863"/>
                <a:gd name="T19" fmla="*/ 87 h 547"/>
                <a:gd name="T20" fmla="*/ 614 w 863"/>
                <a:gd name="T21" fmla="*/ 63 h 547"/>
                <a:gd name="T22" fmla="*/ 550 w 863"/>
                <a:gd name="T23" fmla="*/ 63 h 547"/>
                <a:gd name="T24" fmla="*/ 523 w 863"/>
                <a:gd name="T25" fmla="*/ 14 h 547"/>
                <a:gd name="T26" fmla="*/ 480 w 863"/>
                <a:gd name="T27" fmla="*/ 95 h 547"/>
                <a:gd name="T28" fmla="*/ 467 w 863"/>
                <a:gd name="T29" fmla="*/ 13 h 547"/>
                <a:gd name="T30" fmla="*/ 446 w 863"/>
                <a:gd name="T31" fmla="*/ 151 h 547"/>
                <a:gd name="T32" fmla="*/ 494 w 863"/>
                <a:gd name="T33" fmla="*/ 169 h 547"/>
                <a:gd name="T34" fmla="*/ 483 w 863"/>
                <a:gd name="T35" fmla="*/ 244 h 547"/>
                <a:gd name="T36" fmla="*/ 462 w 863"/>
                <a:gd name="T37" fmla="*/ 226 h 547"/>
                <a:gd name="T38" fmla="*/ 428 w 863"/>
                <a:gd name="T39" fmla="*/ 227 h 547"/>
                <a:gd name="T40" fmla="*/ 397 w 863"/>
                <a:gd name="T41" fmla="*/ 176 h 547"/>
                <a:gd name="T42" fmla="*/ 394 w 863"/>
                <a:gd name="T43" fmla="*/ 112 h 547"/>
                <a:gd name="T44" fmla="*/ 424 w 863"/>
                <a:gd name="T45" fmla="*/ 35 h 547"/>
                <a:gd name="T46" fmla="*/ 364 w 863"/>
                <a:gd name="T47" fmla="*/ 58 h 547"/>
                <a:gd name="T48" fmla="*/ 346 w 863"/>
                <a:gd name="T49" fmla="*/ 121 h 547"/>
                <a:gd name="T50" fmla="*/ 368 w 863"/>
                <a:gd name="T51" fmla="*/ 186 h 547"/>
                <a:gd name="T52" fmla="*/ 376 w 863"/>
                <a:gd name="T53" fmla="*/ 219 h 547"/>
                <a:gd name="T54" fmla="*/ 348 w 863"/>
                <a:gd name="T55" fmla="*/ 269 h 547"/>
                <a:gd name="T56" fmla="*/ 338 w 863"/>
                <a:gd name="T57" fmla="*/ 226 h 547"/>
                <a:gd name="T58" fmla="*/ 315 w 863"/>
                <a:gd name="T59" fmla="*/ 242 h 547"/>
                <a:gd name="T60" fmla="*/ 293 w 863"/>
                <a:gd name="T61" fmla="*/ 239 h 547"/>
                <a:gd name="T62" fmla="*/ 246 w 863"/>
                <a:gd name="T63" fmla="*/ 229 h 547"/>
                <a:gd name="T64" fmla="*/ 205 w 863"/>
                <a:gd name="T65" fmla="*/ 179 h 547"/>
                <a:gd name="T66" fmla="*/ 188 w 863"/>
                <a:gd name="T67" fmla="*/ 204 h 547"/>
                <a:gd name="T68" fmla="*/ 162 w 863"/>
                <a:gd name="T69" fmla="*/ 247 h 547"/>
                <a:gd name="T70" fmla="*/ 132 w 863"/>
                <a:gd name="T71" fmla="*/ 198 h 547"/>
                <a:gd name="T72" fmla="*/ 81 w 863"/>
                <a:gd name="T73" fmla="*/ 180 h 547"/>
                <a:gd name="T74" fmla="*/ 71 w 863"/>
                <a:gd name="T75" fmla="*/ 129 h 547"/>
                <a:gd name="T76" fmla="*/ 339 w 863"/>
                <a:gd name="T77" fmla="*/ 547 h 547"/>
                <a:gd name="T78" fmla="*/ 370 w 863"/>
                <a:gd name="T79" fmla="*/ 480 h 547"/>
                <a:gd name="T80" fmla="*/ 403 w 863"/>
                <a:gd name="T81" fmla="*/ 448 h 547"/>
                <a:gd name="T82" fmla="*/ 466 w 863"/>
                <a:gd name="T83" fmla="*/ 385 h 547"/>
                <a:gd name="T84" fmla="*/ 489 w 863"/>
                <a:gd name="T85" fmla="*/ 308 h 547"/>
                <a:gd name="T86" fmla="*/ 526 w 863"/>
                <a:gd name="T87" fmla="*/ 303 h 547"/>
                <a:gd name="T88" fmla="*/ 552 w 863"/>
                <a:gd name="T89" fmla="*/ 244 h 547"/>
                <a:gd name="T90" fmla="*/ 538 w 863"/>
                <a:gd name="T91" fmla="*/ 185 h 547"/>
                <a:gd name="T92" fmla="*/ 531 w 863"/>
                <a:gd name="T93" fmla="*/ 170 h 547"/>
                <a:gd name="T94" fmla="*/ 595 w 863"/>
                <a:gd name="T95" fmla="*/ 161 h 547"/>
                <a:gd name="T96" fmla="*/ 613 w 863"/>
                <a:gd name="T97" fmla="*/ 200 h 547"/>
                <a:gd name="T98" fmla="*/ 671 w 863"/>
                <a:gd name="T99" fmla="*/ 215 h 547"/>
                <a:gd name="T100" fmla="*/ 675 w 863"/>
                <a:gd name="T101" fmla="*/ 310 h 547"/>
                <a:gd name="T102" fmla="*/ 621 w 863"/>
                <a:gd name="T103" fmla="*/ 342 h 547"/>
                <a:gd name="T104" fmla="*/ 685 w 863"/>
                <a:gd name="T105" fmla="*/ 353 h 547"/>
                <a:gd name="T106" fmla="*/ 728 w 863"/>
                <a:gd name="T107" fmla="*/ 369 h 547"/>
                <a:gd name="T108" fmla="*/ 776 w 863"/>
                <a:gd name="T109" fmla="*/ 396 h 547"/>
                <a:gd name="T110" fmla="*/ 837 w 863"/>
                <a:gd name="T111" fmla="*/ 378 h 547"/>
                <a:gd name="T112" fmla="*/ 825 w 863"/>
                <a:gd name="T113" fmla="*/ 361 h 547"/>
                <a:gd name="T114" fmla="*/ 493 w 863"/>
                <a:gd name="T115" fmla="*/ 121 h 547"/>
                <a:gd name="T116" fmla="*/ 457 w 863"/>
                <a:gd name="T117" fmla="*/ 345 h 547"/>
                <a:gd name="T118" fmla="*/ 573 w 863"/>
                <a:gd name="T119" fmla="*/ 140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63" h="547">
                  <a:moveTo>
                    <a:pt x="862" y="359"/>
                  </a:moveTo>
                  <a:cubicBezTo>
                    <a:pt x="863" y="356"/>
                    <a:pt x="863" y="352"/>
                    <a:pt x="862" y="349"/>
                  </a:cubicBezTo>
                  <a:cubicBezTo>
                    <a:pt x="860" y="347"/>
                    <a:pt x="859" y="344"/>
                    <a:pt x="856" y="342"/>
                  </a:cubicBezTo>
                  <a:cubicBezTo>
                    <a:pt x="856" y="342"/>
                    <a:pt x="855" y="342"/>
                    <a:pt x="855" y="341"/>
                  </a:cubicBezTo>
                  <a:cubicBezTo>
                    <a:pt x="855" y="341"/>
                    <a:pt x="854" y="341"/>
                    <a:pt x="854" y="340"/>
                  </a:cubicBezTo>
                  <a:cubicBezTo>
                    <a:pt x="854" y="340"/>
                    <a:pt x="855" y="339"/>
                    <a:pt x="856" y="339"/>
                  </a:cubicBezTo>
                  <a:cubicBezTo>
                    <a:pt x="858" y="335"/>
                    <a:pt x="858" y="330"/>
                    <a:pt x="854" y="326"/>
                  </a:cubicBezTo>
                  <a:cubicBezTo>
                    <a:pt x="853" y="324"/>
                    <a:pt x="851" y="324"/>
                    <a:pt x="849" y="323"/>
                  </a:cubicBezTo>
                  <a:cubicBezTo>
                    <a:pt x="848" y="323"/>
                    <a:pt x="847" y="323"/>
                    <a:pt x="847" y="323"/>
                  </a:cubicBezTo>
                  <a:cubicBezTo>
                    <a:pt x="847" y="322"/>
                    <a:pt x="847" y="322"/>
                    <a:pt x="847" y="321"/>
                  </a:cubicBezTo>
                  <a:cubicBezTo>
                    <a:pt x="847" y="320"/>
                    <a:pt x="847" y="318"/>
                    <a:pt x="846" y="316"/>
                  </a:cubicBezTo>
                  <a:cubicBezTo>
                    <a:pt x="845" y="315"/>
                    <a:pt x="842" y="315"/>
                    <a:pt x="841" y="315"/>
                  </a:cubicBezTo>
                  <a:cubicBezTo>
                    <a:pt x="841" y="315"/>
                    <a:pt x="841" y="315"/>
                    <a:pt x="841" y="315"/>
                  </a:cubicBezTo>
                  <a:cubicBezTo>
                    <a:pt x="840" y="315"/>
                    <a:pt x="839" y="315"/>
                    <a:pt x="839" y="315"/>
                  </a:cubicBezTo>
                  <a:cubicBezTo>
                    <a:pt x="838" y="315"/>
                    <a:pt x="838" y="315"/>
                    <a:pt x="838" y="315"/>
                  </a:cubicBezTo>
                  <a:cubicBezTo>
                    <a:pt x="838" y="315"/>
                    <a:pt x="838" y="315"/>
                    <a:pt x="838" y="315"/>
                  </a:cubicBezTo>
                  <a:cubicBezTo>
                    <a:pt x="837" y="315"/>
                    <a:pt x="837" y="314"/>
                    <a:pt x="837" y="313"/>
                  </a:cubicBezTo>
                  <a:cubicBezTo>
                    <a:pt x="836" y="313"/>
                    <a:pt x="835" y="312"/>
                    <a:pt x="834" y="311"/>
                  </a:cubicBezTo>
                  <a:cubicBezTo>
                    <a:pt x="834" y="310"/>
                    <a:pt x="833" y="310"/>
                    <a:pt x="833" y="310"/>
                  </a:cubicBezTo>
                  <a:cubicBezTo>
                    <a:pt x="833" y="310"/>
                    <a:pt x="833" y="310"/>
                    <a:pt x="833" y="310"/>
                  </a:cubicBezTo>
                  <a:cubicBezTo>
                    <a:pt x="833" y="309"/>
                    <a:pt x="834" y="307"/>
                    <a:pt x="834" y="306"/>
                  </a:cubicBezTo>
                  <a:cubicBezTo>
                    <a:pt x="836" y="303"/>
                    <a:pt x="836" y="303"/>
                    <a:pt x="836" y="303"/>
                  </a:cubicBezTo>
                  <a:cubicBezTo>
                    <a:pt x="833" y="302"/>
                    <a:pt x="833" y="302"/>
                    <a:pt x="833" y="302"/>
                  </a:cubicBezTo>
                  <a:cubicBezTo>
                    <a:pt x="831" y="301"/>
                    <a:pt x="830" y="301"/>
                    <a:pt x="829" y="301"/>
                  </a:cubicBezTo>
                  <a:cubicBezTo>
                    <a:pt x="828" y="301"/>
                    <a:pt x="826" y="301"/>
                    <a:pt x="826" y="301"/>
                  </a:cubicBezTo>
                  <a:cubicBezTo>
                    <a:pt x="825" y="301"/>
                    <a:pt x="824" y="301"/>
                    <a:pt x="824" y="301"/>
                  </a:cubicBezTo>
                  <a:cubicBezTo>
                    <a:pt x="824" y="300"/>
                    <a:pt x="824" y="299"/>
                    <a:pt x="824" y="299"/>
                  </a:cubicBezTo>
                  <a:cubicBezTo>
                    <a:pt x="824" y="297"/>
                    <a:pt x="823" y="292"/>
                    <a:pt x="817" y="292"/>
                  </a:cubicBezTo>
                  <a:cubicBezTo>
                    <a:pt x="815" y="292"/>
                    <a:pt x="813" y="293"/>
                    <a:pt x="812" y="294"/>
                  </a:cubicBezTo>
                  <a:cubicBezTo>
                    <a:pt x="811" y="294"/>
                    <a:pt x="810" y="295"/>
                    <a:pt x="810" y="295"/>
                  </a:cubicBezTo>
                  <a:cubicBezTo>
                    <a:pt x="810" y="295"/>
                    <a:pt x="809" y="294"/>
                    <a:pt x="808" y="293"/>
                  </a:cubicBezTo>
                  <a:cubicBezTo>
                    <a:pt x="807" y="292"/>
                    <a:pt x="807" y="291"/>
                    <a:pt x="806" y="290"/>
                  </a:cubicBezTo>
                  <a:cubicBezTo>
                    <a:pt x="804" y="289"/>
                    <a:pt x="801" y="289"/>
                    <a:pt x="800" y="289"/>
                  </a:cubicBezTo>
                  <a:cubicBezTo>
                    <a:pt x="798" y="289"/>
                    <a:pt x="798" y="289"/>
                    <a:pt x="798" y="289"/>
                  </a:cubicBezTo>
                  <a:cubicBezTo>
                    <a:pt x="797" y="289"/>
                    <a:pt x="796" y="289"/>
                    <a:pt x="796" y="289"/>
                  </a:cubicBezTo>
                  <a:cubicBezTo>
                    <a:pt x="794" y="288"/>
                    <a:pt x="793" y="287"/>
                    <a:pt x="792" y="284"/>
                  </a:cubicBezTo>
                  <a:cubicBezTo>
                    <a:pt x="791" y="281"/>
                    <a:pt x="790" y="278"/>
                    <a:pt x="787" y="276"/>
                  </a:cubicBezTo>
                  <a:cubicBezTo>
                    <a:pt x="786" y="276"/>
                    <a:pt x="786" y="276"/>
                    <a:pt x="785" y="276"/>
                  </a:cubicBezTo>
                  <a:cubicBezTo>
                    <a:pt x="785" y="275"/>
                    <a:pt x="785" y="274"/>
                    <a:pt x="785" y="274"/>
                  </a:cubicBezTo>
                  <a:cubicBezTo>
                    <a:pt x="784" y="273"/>
                    <a:pt x="783" y="270"/>
                    <a:pt x="779" y="270"/>
                  </a:cubicBezTo>
                  <a:cubicBezTo>
                    <a:pt x="779" y="270"/>
                    <a:pt x="778" y="270"/>
                    <a:pt x="777" y="270"/>
                  </a:cubicBezTo>
                  <a:cubicBezTo>
                    <a:pt x="776" y="271"/>
                    <a:pt x="775" y="271"/>
                    <a:pt x="775" y="272"/>
                  </a:cubicBezTo>
                  <a:cubicBezTo>
                    <a:pt x="775" y="272"/>
                    <a:pt x="775" y="272"/>
                    <a:pt x="775" y="271"/>
                  </a:cubicBezTo>
                  <a:cubicBezTo>
                    <a:pt x="774" y="270"/>
                    <a:pt x="772" y="270"/>
                    <a:pt x="771" y="268"/>
                  </a:cubicBezTo>
                  <a:cubicBezTo>
                    <a:pt x="771" y="268"/>
                    <a:pt x="771" y="268"/>
                    <a:pt x="770" y="268"/>
                  </a:cubicBezTo>
                  <a:cubicBezTo>
                    <a:pt x="771" y="268"/>
                    <a:pt x="772" y="268"/>
                    <a:pt x="772" y="268"/>
                  </a:cubicBezTo>
                  <a:cubicBezTo>
                    <a:pt x="773" y="268"/>
                    <a:pt x="774" y="268"/>
                    <a:pt x="775" y="268"/>
                  </a:cubicBezTo>
                  <a:cubicBezTo>
                    <a:pt x="777" y="267"/>
                    <a:pt x="779" y="266"/>
                    <a:pt x="780" y="263"/>
                  </a:cubicBezTo>
                  <a:cubicBezTo>
                    <a:pt x="781" y="261"/>
                    <a:pt x="780" y="258"/>
                    <a:pt x="779" y="256"/>
                  </a:cubicBezTo>
                  <a:cubicBezTo>
                    <a:pt x="777" y="253"/>
                    <a:pt x="774" y="252"/>
                    <a:pt x="771" y="251"/>
                  </a:cubicBezTo>
                  <a:cubicBezTo>
                    <a:pt x="768" y="250"/>
                    <a:pt x="766" y="249"/>
                    <a:pt x="765" y="247"/>
                  </a:cubicBezTo>
                  <a:cubicBezTo>
                    <a:pt x="765" y="246"/>
                    <a:pt x="765" y="246"/>
                    <a:pt x="765" y="246"/>
                  </a:cubicBezTo>
                  <a:cubicBezTo>
                    <a:pt x="765" y="244"/>
                    <a:pt x="768" y="243"/>
                    <a:pt x="770" y="243"/>
                  </a:cubicBezTo>
                  <a:cubicBezTo>
                    <a:pt x="772" y="242"/>
                    <a:pt x="773" y="242"/>
                    <a:pt x="774" y="241"/>
                  </a:cubicBezTo>
                  <a:cubicBezTo>
                    <a:pt x="776" y="240"/>
                    <a:pt x="776" y="240"/>
                    <a:pt x="776" y="240"/>
                  </a:cubicBezTo>
                  <a:cubicBezTo>
                    <a:pt x="776" y="240"/>
                    <a:pt x="777" y="240"/>
                    <a:pt x="777" y="239"/>
                  </a:cubicBezTo>
                  <a:cubicBezTo>
                    <a:pt x="777" y="239"/>
                    <a:pt x="777" y="240"/>
                    <a:pt x="779" y="240"/>
                  </a:cubicBezTo>
                  <a:cubicBezTo>
                    <a:pt x="779" y="241"/>
                    <a:pt x="779" y="241"/>
                    <a:pt x="779" y="241"/>
                  </a:cubicBezTo>
                  <a:cubicBezTo>
                    <a:pt x="782" y="243"/>
                    <a:pt x="784" y="245"/>
                    <a:pt x="788" y="247"/>
                  </a:cubicBezTo>
                  <a:cubicBezTo>
                    <a:pt x="789" y="248"/>
                    <a:pt x="789" y="248"/>
                    <a:pt x="790" y="248"/>
                  </a:cubicBezTo>
                  <a:cubicBezTo>
                    <a:pt x="792" y="249"/>
                    <a:pt x="793" y="249"/>
                    <a:pt x="794" y="251"/>
                  </a:cubicBezTo>
                  <a:cubicBezTo>
                    <a:pt x="795" y="251"/>
                    <a:pt x="795" y="251"/>
                    <a:pt x="795" y="251"/>
                  </a:cubicBezTo>
                  <a:cubicBezTo>
                    <a:pt x="797" y="253"/>
                    <a:pt x="799" y="256"/>
                    <a:pt x="802" y="256"/>
                  </a:cubicBezTo>
                  <a:cubicBezTo>
                    <a:pt x="803" y="256"/>
                    <a:pt x="804" y="256"/>
                    <a:pt x="805" y="255"/>
                  </a:cubicBezTo>
                  <a:cubicBezTo>
                    <a:pt x="805" y="258"/>
                    <a:pt x="805" y="261"/>
                    <a:pt x="807" y="262"/>
                  </a:cubicBezTo>
                  <a:cubicBezTo>
                    <a:pt x="809" y="264"/>
                    <a:pt x="812" y="265"/>
                    <a:pt x="814" y="266"/>
                  </a:cubicBezTo>
                  <a:cubicBezTo>
                    <a:pt x="815" y="266"/>
                    <a:pt x="816" y="266"/>
                    <a:pt x="816" y="266"/>
                  </a:cubicBezTo>
                  <a:cubicBezTo>
                    <a:pt x="818" y="267"/>
                    <a:pt x="820" y="268"/>
                    <a:pt x="822" y="270"/>
                  </a:cubicBezTo>
                  <a:cubicBezTo>
                    <a:pt x="826" y="275"/>
                    <a:pt x="830" y="278"/>
                    <a:pt x="838" y="278"/>
                  </a:cubicBezTo>
                  <a:cubicBezTo>
                    <a:pt x="843" y="278"/>
                    <a:pt x="847" y="277"/>
                    <a:pt x="849" y="274"/>
                  </a:cubicBezTo>
                  <a:cubicBezTo>
                    <a:pt x="850" y="272"/>
                    <a:pt x="851" y="270"/>
                    <a:pt x="849" y="266"/>
                  </a:cubicBezTo>
                  <a:cubicBezTo>
                    <a:pt x="848" y="263"/>
                    <a:pt x="848" y="263"/>
                    <a:pt x="848" y="263"/>
                  </a:cubicBezTo>
                  <a:cubicBezTo>
                    <a:pt x="847" y="260"/>
                    <a:pt x="845" y="255"/>
                    <a:pt x="843" y="252"/>
                  </a:cubicBezTo>
                  <a:cubicBezTo>
                    <a:pt x="844" y="252"/>
                    <a:pt x="844" y="252"/>
                    <a:pt x="845" y="252"/>
                  </a:cubicBezTo>
                  <a:cubicBezTo>
                    <a:pt x="846" y="252"/>
                    <a:pt x="846" y="252"/>
                    <a:pt x="847" y="251"/>
                  </a:cubicBezTo>
                  <a:cubicBezTo>
                    <a:pt x="850" y="250"/>
                    <a:pt x="851" y="247"/>
                    <a:pt x="852" y="245"/>
                  </a:cubicBezTo>
                  <a:cubicBezTo>
                    <a:pt x="852" y="244"/>
                    <a:pt x="852" y="243"/>
                    <a:pt x="853" y="242"/>
                  </a:cubicBezTo>
                  <a:cubicBezTo>
                    <a:pt x="855" y="239"/>
                    <a:pt x="855" y="237"/>
                    <a:pt x="853" y="234"/>
                  </a:cubicBezTo>
                  <a:cubicBezTo>
                    <a:pt x="853" y="234"/>
                    <a:pt x="852" y="234"/>
                    <a:pt x="852" y="233"/>
                  </a:cubicBezTo>
                  <a:cubicBezTo>
                    <a:pt x="852" y="233"/>
                    <a:pt x="853" y="232"/>
                    <a:pt x="853" y="231"/>
                  </a:cubicBezTo>
                  <a:cubicBezTo>
                    <a:pt x="854" y="230"/>
                    <a:pt x="855" y="229"/>
                    <a:pt x="854" y="227"/>
                  </a:cubicBezTo>
                  <a:cubicBezTo>
                    <a:pt x="853" y="225"/>
                    <a:pt x="851" y="224"/>
                    <a:pt x="850" y="223"/>
                  </a:cubicBezTo>
                  <a:cubicBezTo>
                    <a:pt x="849" y="223"/>
                    <a:pt x="849" y="223"/>
                    <a:pt x="849" y="223"/>
                  </a:cubicBezTo>
                  <a:cubicBezTo>
                    <a:pt x="848" y="222"/>
                    <a:pt x="848" y="222"/>
                    <a:pt x="847" y="221"/>
                  </a:cubicBezTo>
                  <a:cubicBezTo>
                    <a:pt x="851" y="221"/>
                    <a:pt x="853" y="219"/>
                    <a:pt x="854" y="218"/>
                  </a:cubicBezTo>
                  <a:cubicBezTo>
                    <a:pt x="855" y="215"/>
                    <a:pt x="855" y="213"/>
                    <a:pt x="854" y="211"/>
                  </a:cubicBezTo>
                  <a:cubicBezTo>
                    <a:pt x="854" y="210"/>
                    <a:pt x="854" y="209"/>
                    <a:pt x="854" y="209"/>
                  </a:cubicBezTo>
                  <a:cubicBezTo>
                    <a:pt x="854" y="208"/>
                    <a:pt x="855" y="208"/>
                    <a:pt x="855" y="207"/>
                  </a:cubicBezTo>
                  <a:cubicBezTo>
                    <a:pt x="856" y="205"/>
                    <a:pt x="858" y="200"/>
                    <a:pt x="852" y="197"/>
                  </a:cubicBezTo>
                  <a:cubicBezTo>
                    <a:pt x="850" y="196"/>
                    <a:pt x="848" y="196"/>
                    <a:pt x="847" y="195"/>
                  </a:cubicBezTo>
                  <a:cubicBezTo>
                    <a:pt x="845" y="195"/>
                    <a:pt x="844" y="195"/>
                    <a:pt x="843" y="194"/>
                  </a:cubicBezTo>
                  <a:cubicBezTo>
                    <a:pt x="842" y="194"/>
                    <a:pt x="842" y="194"/>
                    <a:pt x="842" y="194"/>
                  </a:cubicBezTo>
                  <a:cubicBezTo>
                    <a:pt x="840" y="193"/>
                    <a:pt x="839" y="192"/>
                    <a:pt x="837" y="192"/>
                  </a:cubicBezTo>
                  <a:cubicBezTo>
                    <a:pt x="835" y="192"/>
                    <a:pt x="833" y="193"/>
                    <a:pt x="831" y="195"/>
                  </a:cubicBezTo>
                  <a:cubicBezTo>
                    <a:pt x="830" y="196"/>
                    <a:pt x="829" y="197"/>
                    <a:pt x="829" y="198"/>
                  </a:cubicBezTo>
                  <a:cubicBezTo>
                    <a:pt x="827" y="199"/>
                    <a:pt x="826" y="201"/>
                    <a:pt x="825" y="201"/>
                  </a:cubicBezTo>
                  <a:cubicBezTo>
                    <a:pt x="825" y="200"/>
                    <a:pt x="825" y="200"/>
                    <a:pt x="825" y="199"/>
                  </a:cubicBezTo>
                  <a:cubicBezTo>
                    <a:pt x="825" y="196"/>
                    <a:pt x="825" y="193"/>
                    <a:pt x="823" y="191"/>
                  </a:cubicBezTo>
                  <a:cubicBezTo>
                    <a:pt x="822" y="190"/>
                    <a:pt x="821" y="189"/>
                    <a:pt x="819" y="189"/>
                  </a:cubicBezTo>
                  <a:cubicBezTo>
                    <a:pt x="819" y="189"/>
                    <a:pt x="818" y="189"/>
                    <a:pt x="818" y="190"/>
                  </a:cubicBezTo>
                  <a:cubicBezTo>
                    <a:pt x="816" y="190"/>
                    <a:pt x="814" y="191"/>
                    <a:pt x="812" y="193"/>
                  </a:cubicBezTo>
                  <a:cubicBezTo>
                    <a:pt x="811" y="193"/>
                    <a:pt x="810" y="194"/>
                    <a:pt x="810" y="194"/>
                  </a:cubicBezTo>
                  <a:cubicBezTo>
                    <a:pt x="810" y="194"/>
                    <a:pt x="810" y="194"/>
                    <a:pt x="810" y="194"/>
                  </a:cubicBezTo>
                  <a:cubicBezTo>
                    <a:pt x="809" y="194"/>
                    <a:pt x="808" y="193"/>
                    <a:pt x="807" y="191"/>
                  </a:cubicBezTo>
                  <a:cubicBezTo>
                    <a:pt x="806" y="191"/>
                    <a:pt x="806" y="190"/>
                    <a:pt x="805" y="189"/>
                  </a:cubicBezTo>
                  <a:cubicBezTo>
                    <a:pt x="802" y="186"/>
                    <a:pt x="799" y="183"/>
                    <a:pt x="796" y="181"/>
                  </a:cubicBezTo>
                  <a:cubicBezTo>
                    <a:pt x="796" y="181"/>
                    <a:pt x="796" y="181"/>
                    <a:pt x="796" y="181"/>
                  </a:cubicBezTo>
                  <a:cubicBezTo>
                    <a:pt x="795" y="180"/>
                    <a:pt x="793" y="178"/>
                    <a:pt x="790" y="178"/>
                  </a:cubicBezTo>
                  <a:cubicBezTo>
                    <a:pt x="790" y="178"/>
                    <a:pt x="789" y="178"/>
                    <a:pt x="789" y="178"/>
                  </a:cubicBezTo>
                  <a:cubicBezTo>
                    <a:pt x="788" y="179"/>
                    <a:pt x="787" y="179"/>
                    <a:pt x="786" y="180"/>
                  </a:cubicBezTo>
                  <a:cubicBezTo>
                    <a:pt x="785" y="177"/>
                    <a:pt x="785" y="175"/>
                    <a:pt x="783" y="174"/>
                  </a:cubicBezTo>
                  <a:cubicBezTo>
                    <a:pt x="782" y="174"/>
                    <a:pt x="782" y="174"/>
                    <a:pt x="782" y="174"/>
                  </a:cubicBezTo>
                  <a:cubicBezTo>
                    <a:pt x="782" y="174"/>
                    <a:pt x="782" y="174"/>
                    <a:pt x="782" y="174"/>
                  </a:cubicBezTo>
                  <a:cubicBezTo>
                    <a:pt x="780" y="174"/>
                    <a:pt x="778" y="176"/>
                    <a:pt x="776" y="177"/>
                  </a:cubicBezTo>
                  <a:cubicBezTo>
                    <a:pt x="776" y="178"/>
                    <a:pt x="775" y="179"/>
                    <a:pt x="774" y="179"/>
                  </a:cubicBezTo>
                  <a:cubicBezTo>
                    <a:pt x="774" y="179"/>
                    <a:pt x="774" y="179"/>
                    <a:pt x="774" y="179"/>
                  </a:cubicBezTo>
                  <a:cubicBezTo>
                    <a:pt x="773" y="179"/>
                    <a:pt x="773" y="179"/>
                    <a:pt x="772" y="179"/>
                  </a:cubicBezTo>
                  <a:cubicBezTo>
                    <a:pt x="772" y="179"/>
                    <a:pt x="771" y="179"/>
                    <a:pt x="771" y="179"/>
                  </a:cubicBezTo>
                  <a:cubicBezTo>
                    <a:pt x="770" y="179"/>
                    <a:pt x="769" y="180"/>
                    <a:pt x="768" y="180"/>
                  </a:cubicBezTo>
                  <a:cubicBezTo>
                    <a:pt x="767" y="180"/>
                    <a:pt x="767" y="180"/>
                    <a:pt x="766" y="181"/>
                  </a:cubicBezTo>
                  <a:cubicBezTo>
                    <a:pt x="766" y="181"/>
                    <a:pt x="765" y="181"/>
                    <a:pt x="765" y="181"/>
                  </a:cubicBezTo>
                  <a:cubicBezTo>
                    <a:pt x="764" y="181"/>
                    <a:pt x="763" y="181"/>
                    <a:pt x="762" y="180"/>
                  </a:cubicBezTo>
                  <a:cubicBezTo>
                    <a:pt x="762" y="180"/>
                    <a:pt x="761" y="180"/>
                    <a:pt x="760" y="179"/>
                  </a:cubicBezTo>
                  <a:cubicBezTo>
                    <a:pt x="755" y="178"/>
                    <a:pt x="751" y="176"/>
                    <a:pt x="747" y="173"/>
                  </a:cubicBezTo>
                  <a:cubicBezTo>
                    <a:pt x="746" y="173"/>
                    <a:pt x="746" y="173"/>
                    <a:pt x="746" y="173"/>
                  </a:cubicBezTo>
                  <a:cubicBezTo>
                    <a:pt x="742" y="171"/>
                    <a:pt x="738" y="170"/>
                    <a:pt x="735" y="169"/>
                  </a:cubicBezTo>
                  <a:cubicBezTo>
                    <a:pt x="733" y="169"/>
                    <a:pt x="731" y="168"/>
                    <a:pt x="729" y="168"/>
                  </a:cubicBezTo>
                  <a:cubicBezTo>
                    <a:pt x="727" y="167"/>
                    <a:pt x="726" y="165"/>
                    <a:pt x="727" y="163"/>
                  </a:cubicBezTo>
                  <a:cubicBezTo>
                    <a:pt x="727" y="163"/>
                    <a:pt x="728" y="161"/>
                    <a:pt x="728" y="161"/>
                  </a:cubicBezTo>
                  <a:cubicBezTo>
                    <a:pt x="730" y="159"/>
                    <a:pt x="733" y="156"/>
                    <a:pt x="731" y="152"/>
                  </a:cubicBezTo>
                  <a:cubicBezTo>
                    <a:pt x="731" y="151"/>
                    <a:pt x="730" y="151"/>
                    <a:pt x="730" y="150"/>
                  </a:cubicBezTo>
                  <a:cubicBezTo>
                    <a:pt x="731" y="150"/>
                    <a:pt x="733" y="149"/>
                    <a:pt x="734" y="149"/>
                  </a:cubicBezTo>
                  <a:cubicBezTo>
                    <a:pt x="736" y="149"/>
                    <a:pt x="737" y="149"/>
                    <a:pt x="738" y="148"/>
                  </a:cubicBezTo>
                  <a:cubicBezTo>
                    <a:pt x="742" y="147"/>
                    <a:pt x="745" y="143"/>
                    <a:pt x="745" y="140"/>
                  </a:cubicBezTo>
                  <a:cubicBezTo>
                    <a:pt x="745" y="137"/>
                    <a:pt x="743" y="134"/>
                    <a:pt x="740" y="132"/>
                  </a:cubicBezTo>
                  <a:cubicBezTo>
                    <a:pt x="738" y="131"/>
                    <a:pt x="737" y="131"/>
                    <a:pt x="735" y="131"/>
                  </a:cubicBezTo>
                  <a:cubicBezTo>
                    <a:pt x="732" y="131"/>
                    <a:pt x="730" y="132"/>
                    <a:pt x="727" y="133"/>
                  </a:cubicBezTo>
                  <a:cubicBezTo>
                    <a:pt x="725" y="134"/>
                    <a:pt x="724" y="135"/>
                    <a:pt x="722" y="135"/>
                  </a:cubicBezTo>
                  <a:cubicBezTo>
                    <a:pt x="721" y="135"/>
                    <a:pt x="720" y="135"/>
                    <a:pt x="719" y="135"/>
                  </a:cubicBezTo>
                  <a:cubicBezTo>
                    <a:pt x="718" y="135"/>
                    <a:pt x="718" y="135"/>
                    <a:pt x="717" y="135"/>
                  </a:cubicBezTo>
                  <a:cubicBezTo>
                    <a:pt x="717" y="135"/>
                    <a:pt x="717" y="135"/>
                    <a:pt x="717" y="135"/>
                  </a:cubicBezTo>
                  <a:cubicBezTo>
                    <a:pt x="717" y="135"/>
                    <a:pt x="717" y="135"/>
                    <a:pt x="718" y="134"/>
                  </a:cubicBezTo>
                  <a:cubicBezTo>
                    <a:pt x="718" y="132"/>
                    <a:pt x="721" y="129"/>
                    <a:pt x="724" y="129"/>
                  </a:cubicBezTo>
                  <a:cubicBezTo>
                    <a:pt x="724" y="129"/>
                    <a:pt x="725" y="129"/>
                    <a:pt x="725" y="129"/>
                  </a:cubicBezTo>
                  <a:cubicBezTo>
                    <a:pt x="727" y="129"/>
                    <a:pt x="732" y="129"/>
                    <a:pt x="733" y="125"/>
                  </a:cubicBezTo>
                  <a:cubicBezTo>
                    <a:pt x="734" y="121"/>
                    <a:pt x="732" y="117"/>
                    <a:pt x="727" y="112"/>
                  </a:cubicBezTo>
                  <a:cubicBezTo>
                    <a:pt x="725" y="111"/>
                    <a:pt x="717" y="106"/>
                    <a:pt x="712" y="106"/>
                  </a:cubicBezTo>
                  <a:cubicBezTo>
                    <a:pt x="708" y="106"/>
                    <a:pt x="706" y="108"/>
                    <a:pt x="706" y="113"/>
                  </a:cubicBezTo>
                  <a:cubicBezTo>
                    <a:pt x="706" y="113"/>
                    <a:pt x="706" y="114"/>
                    <a:pt x="706" y="115"/>
                  </a:cubicBezTo>
                  <a:cubicBezTo>
                    <a:pt x="706" y="115"/>
                    <a:pt x="705" y="114"/>
                    <a:pt x="705" y="114"/>
                  </a:cubicBezTo>
                  <a:cubicBezTo>
                    <a:pt x="704" y="113"/>
                    <a:pt x="704" y="112"/>
                    <a:pt x="703" y="112"/>
                  </a:cubicBezTo>
                  <a:cubicBezTo>
                    <a:pt x="703" y="111"/>
                    <a:pt x="704" y="109"/>
                    <a:pt x="705" y="109"/>
                  </a:cubicBezTo>
                  <a:cubicBezTo>
                    <a:pt x="705" y="108"/>
                    <a:pt x="706" y="108"/>
                    <a:pt x="706" y="107"/>
                  </a:cubicBezTo>
                  <a:cubicBezTo>
                    <a:pt x="706" y="107"/>
                    <a:pt x="706" y="107"/>
                    <a:pt x="706" y="107"/>
                  </a:cubicBezTo>
                  <a:cubicBezTo>
                    <a:pt x="707" y="105"/>
                    <a:pt x="710" y="101"/>
                    <a:pt x="707" y="97"/>
                  </a:cubicBezTo>
                  <a:cubicBezTo>
                    <a:pt x="705" y="95"/>
                    <a:pt x="702" y="95"/>
                    <a:pt x="701" y="95"/>
                  </a:cubicBezTo>
                  <a:cubicBezTo>
                    <a:pt x="701" y="95"/>
                    <a:pt x="700" y="95"/>
                    <a:pt x="699" y="95"/>
                  </a:cubicBezTo>
                  <a:cubicBezTo>
                    <a:pt x="699" y="95"/>
                    <a:pt x="698" y="95"/>
                    <a:pt x="698" y="95"/>
                  </a:cubicBezTo>
                  <a:cubicBezTo>
                    <a:pt x="697" y="95"/>
                    <a:pt x="697" y="95"/>
                    <a:pt x="697" y="95"/>
                  </a:cubicBezTo>
                  <a:cubicBezTo>
                    <a:pt x="697" y="95"/>
                    <a:pt x="696" y="94"/>
                    <a:pt x="695" y="94"/>
                  </a:cubicBezTo>
                  <a:cubicBezTo>
                    <a:pt x="694" y="93"/>
                    <a:pt x="693" y="92"/>
                    <a:pt x="691" y="92"/>
                  </a:cubicBezTo>
                  <a:cubicBezTo>
                    <a:pt x="690" y="92"/>
                    <a:pt x="690" y="92"/>
                    <a:pt x="689" y="93"/>
                  </a:cubicBezTo>
                  <a:cubicBezTo>
                    <a:pt x="689" y="93"/>
                    <a:pt x="688" y="93"/>
                    <a:pt x="687" y="94"/>
                  </a:cubicBezTo>
                  <a:cubicBezTo>
                    <a:pt x="687" y="93"/>
                    <a:pt x="687" y="93"/>
                    <a:pt x="687" y="93"/>
                  </a:cubicBezTo>
                  <a:cubicBezTo>
                    <a:pt x="685" y="93"/>
                    <a:pt x="685" y="93"/>
                    <a:pt x="685" y="93"/>
                  </a:cubicBezTo>
                  <a:cubicBezTo>
                    <a:pt x="683" y="93"/>
                    <a:pt x="681" y="94"/>
                    <a:pt x="679" y="95"/>
                  </a:cubicBezTo>
                  <a:cubicBezTo>
                    <a:pt x="679" y="95"/>
                    <a:pt x="679" y="95"/>
                    <a:pt x="679" y="95"/>
                  </a:cubicBezTo>
                  <a:cubicBezTo>
                    <a:pt x="678" y="96"/>
                    <a:pt x="677" y="97"/>
                    <a:pt x="676" y="97"/>
                  </a:cubicBezTo>
                  <a:cubicBezTo>
                    <a:pt x="676" y="98"/>
                    <a:pt x="675" y="98"/>
                    <a:pt x="675" y="99"/>
                  </a:cubicBezTo>
                  <a:cubicBezTo>
                    <a:pt x="675" y="99"/>
                    <a:pt x="675" y="98"/>
                    <a:pt x="675" y="98"/>
                  </a:cubicBezTo>
                  <a:cubicBezTo>
                    <a:pt x="675" y="96"/>
                    <a:pt x="675" y="90"/>
                    <a:pt x="670" y="88"/>
                  </a:cubicBezTo>
                  <a:cubicBezTo>
                    <a:pt x="670" y="88"/>
                    <a:pt x="669" y="88"/>
                    <a:pt x="668" y="88"/>
                  </a:cubicBezTo>
                  <a:cubicBezTo>
                    <a:pt x="664" y="88"/>
                    <a:pt x="663" y="92"/>
                    <a:pt x="661" y="95"/>
                  </a:cubicBezTo>
                  <a:cubicBezTo>
                    <a:pt x="661" y="96"/>
                    <a:pt x="661" y="97"/>
                    <a:pt x="661" y="97"/>
                  </a:cubicBezTo>
                  <a:cubicBezTo>
                    <a:pt x="660" y="98"/>
                    <a:pt x="660" y="99"/>
                    <a:pt x="659" y="99"/>
                  </a:cubicBezTo>
                  <a:cubicBezTo>
                    <a:pt x="658" y="101"/>
                    <a:pt x="656" y="104"/>
                    <a:pt x="655" y="104"/>
                  </a:cubicBezTo>
                  <a:cubicBezTo>
                    <a:pt x="654" y="104"/>
                    <a:pt x="654" y="104"/>
                    <a:pt x="654" y="104"/>
                  </a:cubicBezTo>
                  <a:cubicBezTo>
                    <a:pt x="654" y="104"/>
                    <a:pt x="653" y="103"/>
                    <a:pt x="654" y="101"/>
                  </a:cubicBezTo>
                  <a:cubicBezTo>
                    <a:pt x="655" y="98"/>
                    <a:pt x="656" y="97"/>
                    <a:pt x="656" y="96"/>
                  </a:cubicBezTo>
                  <a:cubicBezTo>
                    <a:pt x="659" y="95"/>
                    <a:pt x="663" y="92"/>
                    <a:pt x="665" y="87"/>
                  </a:cubicBezTo>
                  <a:cubicBezTo>
                    <a:pt x="666" y="85"/>
                    <a:pt x="665" y="83"/>
                    <a:pt x="664" y="82"/>
                  </a:cubicBezTo>
                  <a:cubicBezTo>
                    <a:pt x="663" y="80"/>
                    <a:pt x="661" y="79"/>
                    <a:pt x="659" y="78"/>
                  </a:cubicBezTo>
                  <a:cubicBezTo>
                    <a:pt x="659" y="78"/>
                    <a:pt x="658" y="78"/>
                    <a:pt x="658" y="78"/>
                  </a:cubicBezTo>
                  <a:cubicBezTo>
                    <a:pt x="657" y="78"/>
                    <a:pt x="657" y="77"/>
                    <a:pt x="656" y="77"/>
                  </a:cubicBezTo>
                  <a:cubicBezTo>
                    <a:pt x="654" y="76"/>
                    <a:pt x="651" y="74"/>
                    <a:pt x="648" y="74"/>
                  </a:cubicBezTo>
                  <a:cubicBezTo>
                    <a:pt x="647" y="73"/>
                    <a:pt x="646" y="73"/>
                    <a:pt x="645" y="73"/>
                  </a:cubicBezTo>
                  <a:cubicBezTo>
                    <a:pt x="642" y="73"/>
                    <a:pt x="640" y="74"/>
                    <a:pt x="638" y="76"/>
                  </a:cubicBezTo>
                  <a:cubicBezTo>
                    <a:pt x="637" y="78"/>
                    <a:pt x="637" y="80"/>
                    <a:pt x="637" y="82"/>
                  </a:cubicBezTo>
                  <a:cubicBezTo>
                    <a:pt x="637" y="83"/>
                    <a:pt x="637" y="84"/>
                    <a:pt x="637" y="85"/>
                  </a:cubicBezTo>
                  <a:cubicBezTo>
                    <a:pt x="637" y="86"/>
                    <a:pt x="636" y="87"/>
                    <a:pt x="636" y="87"/>
                  </a:cubicBezTo>
                  <a:cubicBezTo>
                    <a:pt x="636" y="87"/>
                    <a:pt x="636" y="86"/>
                    <a:pt x="635" y="86"/>
                  </a:cubicBezTo>
                  <a:cubicBezTo>
                    <a:pt x="634" y="82"/>
                    <a:pt x="632" y="77"/>
                    <a:pt x="627" y="76"/>
                  </a:cubicBezTo>
                  <a:cubicBezTo>
                    <a:pt x="626" y="76"/>
                    <a:pt x="626" y="76"/>
                    <a:pt x="625" y="76"/>
                  </a:cubicBezTo>
                  <a:cubicBezTo>
                    <a:pt x="623" y="76"/>
                    <a:pt x="621" y="77"/>
                    <a:pt x="619" y="78"/>
                  </a:cubicBezTo>
                  <a:cubicBezTo>
                    <a:pt x="619" y="78"/>
                    <a:pt x="618" y="79"/>
                    <a:pt x="617" y="79"/>
                  </a:cubicBezTo>
                  <a:cubicBezTo>
                    <a:pt x="618" y="79"/>
                    <a:pt x="618" y="78"/>
                    <a:pt x="618" y="77"/>
                  </a:cubicBezTo>
                  <a:cubicBezTo>
                    <a:pt x="620" y="75"/>
                    <a:pt x="622" y="72"/>
                    <a:pt x="621" y="70"/>
                  </a:cubicBezTo>
                  <a:cubicBezTo>
                    <a:pt x="621" y="64"/>
                    <a:pt x="616" y="63"/>
                    <a:pt x="614" y="63"/>
                  </a:cubicBezTo>
                  <a:cubicBezTo>
                    <a:pt x="611" y="63"/>
                    <a:pt x="610" y="62"/>
                    <a:pt x="609" y="61"/>
                  </a:cubicBezTo>
                  <a:cubicBezTo>
                    <a:pt x="609" y="60"/>
                    <a:pt x="608" y="59"/>
                    <a:pt x="608" y="58"/>
                  </a:cubicBezTo>
                  <a:cubicBezTo>
                    <a:pt x="608" y="56"/>
                    <a:pt x="607" y="55"/>
                    <a:pt x="607" y="54"/>
                  </a:cubicBezTo>
                  <a:cubicBezTo>
                    <a:pt x="605" y="50"/>
                    <a:pt x="600" y="47"/>
                    <a:pt x="596" y="46"/>
                  </a:cubicBezTo>
                  <a:cubicBezTo>
                    <a:pt x="596" y="46"/>
                    <a:pt x="595" y="46"/>
                    <a:pt x="595" y="46"/>
                  </a:cubicBezTo>
                  <a:cubicBezTo>
                    <a:pt x="594" y="46"/>
                    <a:pt x="593" y="46"/>
                    <a:pt x="593" y="47"/>
                  </a:cubicBezTo>
                  <a:cubicBezTo>
                    <a:pt x="592" y="47"/>
                    <a:pt x="591" y="47"/>
                    <a:pt x="591" y="47"/>
                  </a:cubicBezTo>
                  <a:cubicBezTo>
                    <a:pt x="590" y="47"/>
                    <a:pt x="590" y="47"/>
                    <a:pt x="589" y="47"/>
                  </a:cubicBezTo>
                  <a:cubicBezTo>
                    <a:pt x="588" y="46"/>
                    <a:pt x="587" y="46"/>
                    <a:pt x="586" y="45"/>
                  </a:cubicBezTo>
                  <a:cubicBezTo>
                    <a:pt x="584" y="44"/>
                    <a:pt x="581" y="43"/>
                    <a:pt x="578" y="43"/>
                  </a:cubicBezTo>
                  <a:cubicBezTo>
                    <a:pt x="578" y="43"/>
                    <a:pt x="577" y="43"/>
                    <a:pt x="576" y="44"/>
                  </a:cubicBezTo>
                  <a:cubicBezTo>
                    <a:pt x="572" y="44"/>
                    <a:pt x="568" y="47"/>
                    <a:pt x="564" y="52"/>
                  </a:cubicBezTo>
                  <a:cubicBezTo>
                    <a:pt x="561" y="57"/>
                    <a:pt x="560" y="60"/>
                    <a:pt x="564" y="65"/>
                  </a:cubicBezTo>
                  <a:cubicBezTo>
                    <a:pt x="564" y="65"/>
                    <a:pt x="564" y="65"/>
                    <a:pt x="564" y="65"/>
                  </a:cubicBezTo>
                  <a:cubicBezTo>
                    <a:pt x="563" y="66"/>
                    <a:pt x="562" y="66"/>
                    <a:pt x="561" y="67"/>
                  </a:cubicBezTo>
                  <a:cubicBezTo>
                    <a:pt x="560" y="65"/>
                    <a:pt x="557" y="64"/>
                    <a:pt x="555" y="64"/>
                  </a:cubicBezTo>
                  <a:cubicBezTo>
                    <a:pt x="555" y="64"/>
                    <a:pt x="554" y="64"/>
                    <a:pt x="554" y="63"/>
                  </a:cubicBezTo>
                  <a:cubicBezTo>
                    <a:pt x="553" y="63"/>
                    <a:pt x="551" y="63"/>
                    <a:pt x="550" y="63"/>
                  </a:cubicBezTo>
                  <a:cubicBezTo>
                    <a:pt x="549" y="63"/>
                    <a:pt x="549" y="63"/>
                    <a:pt x="549" y="63"/>
                  </a:cubicBezTo>
                  <a:cubicBezTo>
                    <a:pt x="549" y="63"/>
                    <a:pt x="549" y="63"/>
                    <a:pt x="549" y="63"/>
                  </a:cubicBezTo>
                  <a:cubicBezTo>
                    <a:pt x="545" y="63"/>
                    <a:pt x="544" y="67"/>
                    <a:pt x="544" y="70"/>
                  </a:cubicBezTo>
                  <a:cubicBezTo>
                    <a:pt x="543" y="70"/>
                    <a:pt x="543" y="71"/>
                    <a:pt x="543" y="71"/>
                  </a:cubicBezTo>
                  <a:cubicBezTo>
                    <a:pt x="542" y="74"/>
                    <a:pt x="541" y="76"/>
                    <a:pt x="541" y="77"/>
                  </a:cubicBezTo>
                  <a:cubicBezTo>
                    <a:pt x="540" y="76"/>
                    <a:pt x="540" y="74"/>
                    <a:pt x="540" y="72"/>
                  </a:cubicBezTo>
                  <a:cubicBezTo>
                    <a:pt x="540" y="72"/>
                    <a:pt x="540" y="71"/>
                    <a:pt x="540" y="71"/>
                  </a:cubicBezTo>
                  <a:cubicBezTo>
                    <a:pt x="540" y="70"/>
                    <a:pt x="540" y="69"/>
                    <a:pt x="540" y="69"/>
                  </a:cubicBezTo>
                  <a:cubicBezTo>
                    <a:pt x="540" y="66"/>
                    <a:pt x="539" y="64"/>
                    <a:pt x="540" y="62"/>
                  </a:cubicBezTo>
                  <a:cubicBezTo>
                    <a:pt x="540" y="62"/>
                    <a:pt x="540" y="62"/>
                    <a:pt x="541" y="61"/>
                  </a:cubicBezTo>
                  <a:cubicBezTo>
                    <a:pt x="542" y="60"/>
                    <a:pt x="543" y="60"/>
                    <a:pt x="543" y="58"/>
                  </a:cubicBezTo>
                  <a:cubicBezTo>
                    <a:pt x="547" y="52"/>
                    <a:pt x="543" y="47"/>
                    <a:pt x="541" y="43"/>
                  </a:cubicBezTo>
                  <a:cubicBezTo>
                    <a:pt x="540" y="42"/>
                    <a:pt x="539" y="41"/>
                    <a:pt x="539" y="40"/>
                  </a:cubicBezTo>
                  <a:cubicBezTo>
                    <a:pt x="538" y="38"/>
                    <a:pt x="537" y="37"/>
                    <a:pt x="536" y="36"/>
                  </a:cubicBezTo>
                  <a:cubicBezTo>
                    <a:pt x="535" y="34"/>
                    <a:pt x="534" y="33"/>
                    <a:pt x="533" y="32"/>
                  </a:cubicBezTo>
                  <a:cubicBezTo>
                    <a:pt x="533" y="31"/>
                    <a:pt x="533" y="30"/>
                    <a:pt x="533" y="29"/>
                  </a:cubicBezTo>
                  <a:cubicBezTo>
                    <a:pt x="532" y="28"/>
                    <a:pt x="532" y="27"/>
                    <a:pt x="532" y="26"/>
                  </a:cubicBezTo>
                  <a:cubicBezTo>
                    <a:pt x="531" y="21"/>
                    <a:pt x="527" y="16"/>
                    <a:pt x="523" y="14"/>
                  </a:cubicBezTo>
                  <a:cubicBezTo>
                    <a:pt x="522" y="13"/>
                    <a:pt x="521" y="13"/>
                    <a:pt x="519" y="13"/>
                  </a:cubicBezTo>
                  <a:cubicBezTo>
                    <a:pt x="517" y="13"/>
                    <a:pt x="515" y="14"/>
                    <a:pt x="513" y="15"/>
                  </a:cubicBezTo>
                  <a:cubicBezTo>
                    <a:pt x="512" y="16"/>
                    <a:pt x="511" y="16"/>
                    <a:pt x="510" y="17"/>
                  </a:cubicBezTo>
                  <a:cubicBezTo>
                    <a:pt x="509" y="17"/>
                    <a:pt x="509" y="17"/>
                    <a:pt x="508" y="17"/>
                  </a:cubicBezTo>
                  <a:cubicBezTo>
                    <a:pt x="506" y="18"/>
                    <a:pt x="504" y="18"/>
                    <a:pt x="501" y="20"/>
                  </a:cubicBezTo>
                  <a:cubicBezTo>
                    <a:pt x="496" y="23"/>
                    <a:pt x="491" y="28"/>
                    <a:pt x="487" y="33"/>
                  </a:cubicBezTo>
                  <a:cubicBezTo>
                    <a:pt x="479" y="43"/>
                    <a:pt x="473" y="57"/>
                    <a:pt x="479" y="67"/>
                  </a:cubicBezTo>
                  <a:cubicBezTo>
                    <a:pt x="480" y="68"/>
                    <a:pt x="482" y="70"/>
                    <a:pt x="484" y="71"/>
                  </a:cubicBezTo>
                  <a:cubicBezTo>
                    <a:pt x="485" y="72"/>
                    <a:pt x="488" y="74"/>
                    <a:pt x="489" y="75"/>
                  </a:cubicBezTo>
                  <a:cubicBezTo>
                    <a:pt x="488" y="76"/>
                    <a:pt x="488" y="76"/>
                    <a:pt x="487" y="76"/>
                  </a:cubicBezTo>
                  <a:cubicBezTo>
                    <a:pt x="487" y="76"/>
                    <a:pt x="486" y="77"/>
                    <a:pt x="486" y="77"/>
                  </a:cubicBezTo>
                  <a:cubicBezTo>
                    <a:pt x="484" y="79"/>
                    <a:pt x="481" y="81"/>
                    <a:pt x="479" y="85"/>
                  </a:cubicBezTo>
                  <a:cubicBezTo>
                    <a:pt x="476" y="94"/>
                    <a:pt x="485" y="100"/>
                    <a:pt x="489" y="102"/>
                  </a:cubicBezTo>
                  <a:cubicBezTo>
                    <a:pt x="493" y="105"/>
                    <a:pt x="495" y="106"/>
                    <a:pt x="494" y="110"/>
                  </a:cubicBezTo>
                  <a:cubicBezTo>
                    <a:pt x="494" y="111"/>
                    <a:pt x="494" y="111"/>
                    <a:pt x="494" y="112"/>
                  </a:cubicBezTo>
                  <a:cubicBezTo>
                    <a:pt x="494" y="108"/>
                    <a:pt x="490" y="106"/>
                    <a:pt x="487" y="104"/>
                  </a:cubicBezTo>
                  <a:cubicBezTo>
                    <a:pt x="486" y="103"/>
                    <a:pt x="484" y="102"/>
                    <a:pt x="483" y="101"/>
                  </a:cubicBezTo>
                  <a:cubicBezTo>
                    <a:pt x="482" y="100"/>
                    <a:pt x="481" y="97"/>
                    <a:pt x="480" y="95"/>
                  </a:cubicBezTo>
                  <a:cubicBezTo>
                    <a:pt x="480" y="94"/>
                    <a:pt x="479" y="93"/>
                    <a:pt x="478" y="91"/>
                  </a:cubicBezTo>
                  <a:cubicBezTo>
                    <a:pt x="478" y="90"/>
                    <a:pt x="478" y="90"/>
                    <a:pt x="478" y="90"/>
                  </a:cubicBezTo>
                  <a:cubicBezTo>
                    <a:pt x="476" y="87"/>
                    <a:pt x="475" y="86"/>
                    <a:pt x="475" y="83"/>
                  </a:cubicBezTo>
                  <a:cubicBezTo>
                    <a:pt x="475" y="81"/>
                    <a:pt x="475" y="80"/>
                    <a:pt x="476" y="78"/>
                  </a:cubicBezTo>
                  <a:cubicBezTo>
                    <a:pt x="476" y="73"/>
                    <a:pt x="477" y="68"/>
                    <a:pt x="473" y="62"/>
                  </a:cubicBezTo>
                  <a:cubicBezTo>
                    <a:pt x="473" y="62"/>
                    <a:pt x="472" y="61"/>
                    <a:pt x="472" y="61"/>
                  </a:cubicBezTo>
                  <a:cubicBezTo>
                    <a:pt x="471" y="60"/>
                    <a:pt x="471" y="59"/>
                    <a:pt x="471" y="58"/>
                  </a:cubicBezTo>
                  <a:cubicBezTo>
                    <a:pt x="471" y="55"/>
                    <a:pt x="472" y="51"/>
                    <a:pt x="473" y="49"/>
                  </a:cubicBezTo>
                  <a:cubicBezTo>
                    <a:pt x="474" y="46"/>
                    <a:pt x="475" y="43"/>
                    <a:pt x="477" y="41"/>
                  </a:cubicBezTo>
                  <a:cubicBezTo>
                    <a:pt x="477" y="40"/>
                    <a:pt x="478" y="39"/>
                    <a:pt x="478" y="38"/>
                  </a:cubicBezTo>
                  <a:cubicBezTo>
                    <a:pt x="479" y="36"/>
                    <a:pt x="481" y="33"/>
                    <a:pt x="483" y="31"/>
                  </a:cubicBezTo>
                  <a:cubicBezTo>
                    <a:pt x="483" y="30"/>
                    <a:pt x="484" y="30"/>
                    <a:pt x="485" y="29"/>
                  </a:cubicBezTo>
                  <a:cubicBezTo>
                    <a:pt x="487" y="25"/>
                    <a:pt x="489" y="22"/>
                    <a:pt x="489" y="17"/>
                  </a:cubicBezTo>
                  <a:cubicBezTo>
                    <a:pt x="488" y="14"/>
                    <a:pt x="488" y="14"/>
                    <a:pt x="488" y="14"/>
                  </a:cubicBezTo>
                  <a:cubicBezTo>
                    <a:pt x="486" y="14"/>
                    <a:pt x="486" y="14"/>
                    <a:pt x="486" y="14"/>
                  </a:cubicBezTo>
                  <a:cubicBezTo>
                    <a:pt x="481" y="14"/>
                    <a:pt x="477" y="14"/>
                    <a:pt x="473" y="13"/>
                  </a:cubicBezTo>
                  <a:cubicBezTo>
                    <a:pt x="470" y="13"/>
                    <a:pt x="470" y="13"/>
                    <a:pt x="470" y="13"/>
                  </a:cubicBezTo>
                  <a:cubicBezTo>
                    <a:pt x="469" y="13"/>
                    <a:pt x="468" y="13"/>
                    <a:pt x="467" y="13"/>
                  </a:cubicBezTo>
                  <a:cubicBezTo>
                    <a:pt x="464" y="13"/>
                    <a:pt x="462" y="13"/>
                    <a:pt x="460" y="15"/>
                  </a:cubicBezTo>
                  <a:cubicBezTo>
                    <a:pt x="459" y="16"/>
                    <a:pt x="459" y="16"/>
                    <a:pt x="458" y="17"/>
                  </a:cubicBezTo>
                  <a:cubicBezTo>
                    <a:pt x="455" y="19"/>
                    <a:pt x="451" y="22"/>
                    <a:pt x="449" y="25"/>
                  </a:cubicBezTo>
                  <a:cubicBezTo>
                    <a:pt x="448" y="27"/>
                    <a:pt x="448" y="27"/>
                    <a:pt x="448" y="27"/>
                  </a:cubicBezTo>
                  <a:cubicBezTo>
                    <a:pt x="443" y="36"/>
                    <a:pt x="437" y="44"/>
                    <a:pt x="434" y="54"/>
                  </a:cubicBezTo>
                  <a:cubicBezTo>
                    <a:pt x="430" y="68"/>
                    <a:pt x="426" y="89"/>
                    <a:pt x="428" y="108"/>
                  </a:cubicBezTo>
                  <a:cubicBezTo>
                    <a:pt x="430" y="115"/>
                    <a:pt x="434" y="119"/>
                    <a:pt x="441" y="121"/>
                  </a:cubicBezTo>
                  <a:cubicBezTo>
                    <a:pt x="444" y="122"/>
                    <a:pt x="446" y="122"/>
                    <a:pt x="449" y="122"/>
                  </a:cubicBezTo>
                  <a:cubicBezTo>
                    <a:pt x="450" y="122"/>
                    <a:pt x="450" y="122"/>
                    <a:pt x="450" y="122"/>
                  </a:cubicBezTo>
                  <a:cubicBezTo>
                    <a:pt x="454" y="122"/>
                    <a:pt x="461" y="126"/>
                    <a:pt x="461" y="129"/>
                  </a:cubicBezTo>
                  <a:cubicBezTo>
                    <a:pt x="461" y="129"/>
                    <a:pt x="461" y="129"/>
                    <a:pt x="460" y="129"/>
                  </a:cubicBezTo>
                  <a:cubicBezTo>
                    <a:pt x="458" y="129"/>
                    <a:pt x="453" y="127"/>
                    <a:pt x="452" y="126"/>
                  </a:cubicBezTo>
                  <a:cubicBezTo>
                    <a:pt x="452" y="126"/>
                    <a:pt x="450" y="126"/>
                    <a:pt x="449" y="125"/>
                  </a:cubicBezTo>
                  <a:cubicBezTo>
                    <a:pt x="447" y="124"/>
                    <a:pt x="443" y="123"/>
                    <a:pt x="440" y="123"/>
                  </a:cubicBezTo>
                  <a:cubicBezTo>
                    <a:pt x="438" y="123"/>
                    <a:pt x="437" y="124"/>
                    <a:pt x="436" y="125"/>
                  </a:cubicBezTo>
                  <a:cubicBezTo>
                    <a:pt x="431" y="129"/>
                    <a:pt x="434" y="134"/>
                    <a:pt x="436" y="137"/>
                  </a:cubicBezTo>
                  <a:cubicBezTo>
                    <a:pt x="437" y="138"/>
                    <a:pt x="437" y="139"/>
                    <a:pt x="437" y="139"/>
                  </a:cubicBezTo>
                  <a:cubicBezTo>
                    <a:pt x="439" y="145"/>
                    <a:pt x="442" y="147"/>
                    <a:pt x="446" y="151"/>
                  </a:cubicBezTo>
                  <a:cubicBezTo>
                    <a:pt x="452" y="156"/>
                    <a:pt x="460" y="157"/>
                    <a:pt x="463" y="157"/>
                  </a:cubicBezTo>
                  <a:cubicBezTo>
                    <a:pt x="463" y="157"/>
                    <a:pt x="464" y="157"/>
                    <a:pt x="464" y="157"/>
                  </a:cubicBezTo>
                  <a:cubicBezTo>
                    <a:pt x="466" y="157"/>
                    <a:pt x="468" y="157"/>
                    <a:pt x="469" y="156"/>
                  </a:cubicBezTo>
                  <a:cubicBezTo>
                    <a:pt x="470" y="156"/>
                    <a:pt x="471" y="156"/>
                    <a:pt x="472" y="156"/>
                  </a:cubicBezTo>
                  <a:cubicBezTo>
                    <a:pt x="472" y="156"/>
                    <a:pt x="473" y="156"/>
                    <a:pt x="474" y="158"/>
                  </a:cubicBezTo>
                  <a:cubicBezTo>
                    <a:pt x="475" y="159"/>
                    <a:pt x="475" y="159"/>
                    <a:pt x="475" y="159"/>
                  </a:cubicBezTo>
                  <a:cubicBezTo>
                    <a:pt x="477" y="162"/>
                    <a:pt x="480" y="166"/>
                    <a:pt x="484" y="167"/>
                  </a:cubicBezTo>
                  <a:cubicBezTo>
                    <a:pt x="485" y="167"/>
                    <a:pt x="485" y="167"/>
                    <a:pt x="486" y="167"/>
                  </a:cubicBezTo>
                  <a:cubicBezTo>
                    <a:pt x="488" y="167"/>
                    <a:pt x="489" y="166"/>
                    <a:pt x="491" y="166"/>
                  </a:cubicBezTo>
                  <a:cubicBezTo>
                    <a:pt x="492" y="165"/>
                    <a:pt x="493" y="165"/>
                    <a:pt x="494" y="165"/>
                  </a:cubicBezTo>
                  <a:cubicBezTo>
                    <a:pt x="494" y="165"/>
                    <a:pt x="495" y="165"/>
                    <a:pt x="495" y="165"/>
                  </a:cubicBezTo>
                  <a:cubicBezTo>
                    <a:pt x="498" y="166"/>
                    <a:pt x="498" y="166"/>
                    <a:pt x="498" y="166"/>
                  </a:cubicBezTo>
                  <a:cubicBezTo>
                    <a:pt x="500" y="166"/>
                    <a:pt x="502" y="167"/>
                    <a:pt x="505" y="167"/>
                  </a:cubicBezTo>
                  <a:cubicBezTo>
                    <a:pt x="503" y="167"/>
                    <a:pt x="501" y="168"/>
                    <a:pt x="500" y="168"/>
                  </a:cubicBezTo>
                  <a:cubicBezTo>
                    <a:pt x="499" y="169"/>
                    <a:pt x="499" y="169"/>
                    <a:pt x="498" y="169"/>
                  </a:cubicBezTo>
                  <a:cubicBezTo>
                    <a:pt x="497" y="169"/>
                    <a:pt x="496" y="169"/>
                    <a:pt x="495" y="169"/>
                  </a:cubicBezTo>
                  <a:cubicBezTo>
                    <a:pt x="495" y="169"/>
                    <a:pt x="495" y="169"/>
                    <a:pt x="495" y="169"/>
                  </a:cubicBezTo>
                  <a:cubicBezTo>
                    <a:pt x="495" y="169"/>
                    <a:pt x="494" y="169"/>
                    <a:pt x="494" y="169"/>
                  </a:cubicBezTo>
                  <a:cubicBezTo>
                    <a:pt x="494" y="169"/>
                    <a:pt x="493" y="169"/>
                    <a:pt x="492" y="169"/>
                  </a:cubicBezTo>
                  <a:cubicBezTo>
                    <a:pt x="492" y="169"/>
                    <a:pt x="491" y="169"/>
                    <a:pt x="491" y="169"/>
                  </a:cubicBezTo>
                  <a:cubicBezTo>
                    <a:pt x="487" y="171"/>
                    <a:pt x="487" y="176"/>
                    <a:pt x="488" y="181"/>
                  </a:cubicBezTo>
                  <a:cubicBezTo>
                    <a:pt x="488" y="181"/>
                    <a:pt x="488" y="182"/>
                    <a:pt x="488" y="182"/>
                  </a:cubicBezTo>
                  <a:cubicBezTo>
                    <a:pt x="488" y="186"/>
                    <a:pt x="488" y="190"/>
                    <a:pt x="489" y="193"/>
                  </a:cubicBezTo>
                  <a:cubicBezTo>
                    <a:pt x="490" y="198"/>
                    <a:pt x="494" y="199"/>
                    <a:pt x="497" y="199"/>
                  </a:cubicBezTo>
                  <a:cubicBezTo>
                    <a:pt x="497" y="200"/>
                    <a:pt x="497" y="200"/>
                    <a:pt x="497" y="201"/>
                  </a:cubicBezTo>
                  <a:cubicBezTo>
                    <a:pt x="497" y="201"/>
                    <a:pt x="497" y="202"/>
                    <a:pt x="497" y="203"/>
                  </a:cubicBezTo>
                  <a:cubicBezTo>
                    <a:pt x="497" y="203"/>
                    <a:pt x="497" y="204"/>
                    <a:pt x="497" y="204"/>
                  </a:cubicBezTo>
                  <a:cubicBezTo>
                    <a:pt x="497" y="206"/>
                    <a:pt x="497" y="209"/>
                    <a:pt x="496" y="210"/>
                  </a:cubicBezTo>
                  <a:cubicBezTo>
                    <a:pt x="495" y="210"/>
                    <a:pt x="494" y="211"/>
                    <a:pt x="494" y="211"/>
                  </a:cubicBezTo>
                  <a:cubicBezTo>
                    <a:pt x="492" y="212"/>
                    <a:pt x="489" y="213"/>
                    <a:pt x="488" y="215"/>
                  </a:cubicBezTo>
                  <a:cubicBezTo>
                    <a:pt x="487" y="217"/>
                    <a:pt x="487" y="220"/>
                    <a:pt x="487" y="223"/>
                  </a:cubicBezTo>
                  <a:cubicBezTo>
                    <a:pt x="487" y="224"/>
                    <a:pt x="487" y="225"/>
                    <a:pt x="486" y="226"/>
                  </a:cubicBezTo>
                  <a:cubicBezTo>
                    <a:pt x="486" y="229"/>
                    <a:pt x="486" y="231"/>
                    <a:pt x="486" y="234"/>
                  </a:cubicBezTo>
                  <a:cubicBezTo>
                    <a:pt x="486" y="237"/>
                    <a:pt x="486" y="240"/>
                    <a:pt x="485" y="243"/>
                  </a:cubicBezTo>
                  <a:cubicBezTo>
                    <a:pt x="485" y="243"/>
                    <a:pt x="485" y="243"/>
                    <a:pt x="484" y="243"/>
                  </a:cubicBezTo>
                  <a:cubicBezTo>
                    <a:pt x="484" y="244"/>
                    <a:pt x="484" y="244"/>
                    <a:pt x="483" y="244"/>
                  </a:cubicBezTo>
                  <a:cubicBezTo>
                    <a:pt x="481" y="246"/>
                    <a:pt x="479" y="250"/>
                    <a:pt x="478" y="254"/>
                  </a:cubicBezTo>
                  <a:cubicBezTo>
                    <a:pt x="478" y="255"/>
                    <a:pt x="478" y="257"/>
                    <a:pt x="478" y="258"/>
                  </a:cubicBezTo>
                  <a:cubicBezTo>
                    <a:pt x="478" y="260"/>
                    <a:pt x="478" y="262"/>
                    <a:pt x="478" y="263"/>
                  </a:cubicBezTo>
                  <a:cubicBezTo>
                    <a:pt x="477" y="263"/>
                    <a:pt x="477" y="264"/>
                    <a:pt x="476" y="264"/>
                  </a:cubicBezTo>
                  <a:cubicBezTo>
                    <a:pt x="475" y="264"/>
                    <a:pt x="474" y="265"/>
                    <a:pt x="473" y="266"/>
                  </a:cubicBezTo>
                  <a:cubicBezTo>
                    <a:pt x="472" y="267"/>
                    <a:pt x="471" y="268"/>
                    <a:pt x="471" y="269"/>
                  </a:cubicBezTo>
                  <a:cubicBezTo>
                    <a:pt x="470" y="268"/>
                    <a:pt x="469" y="266"/>
                    <a:pt x="468" y="264"/>
                  </a:cubicBezTo>
                  <a:cubicBezTo>
                    <a:pt x="467" y="262"/>
                    <a:pt x="465" y="260"/>
                    <a:pt x="463" y="258"/>
                  </a:cubicBezTo>
                  <a:cubicBezTo>
                    <a:pt x="463" y="258"/>
                    <a:pt x="463" y="258"/>
                    <a:pt x="463" y="258"/>
                  </a:cubicBezTo>
                  <a:cubicBezTo>
                    <a:pt x="461" y="257"/>
                    <a:pt x="460" y="255"/>
                    <a:pt x="459" y="253"/>
                  </a:cubicBezTo>
                  <a:cubicBezTo>
                    <a:pt x="458" y="251"/>
                    <a:pt x="457" y="251"/>
                    <a:pt x="457" y="250"/>
                  </a:cubicBezTo>
                  <a:cubicBezTo>
                    <a:pt x="457" y="248"/>
                    <a:pt x="457" y="248"/>
                    <a:pt x="457" y="248"/>
                  </a:cubicBezTo>
                  <a:cubicBezTo>
                    <a:pt x="458" y="246"/>
                    <a:pt x="458" y="243"/>
                    <a:pt x="457" y="241"/>
                  </a:cubicBezTo>
                  <a:cubicBezTo>
                    <a:pt x="457" y="240"/>
                    <a:pt x="457" y="240"/>
                    <a:pt x="457" y="240"/>
                  </a:cubicBezTo>
                  <a:cubicBezTo>
                    <a:pt x="457" y="239"/>
                    <a:pt x="456" y="237"/>
                    <a:pt x="456" y="237"/>
                  </a:cubicBezTo>
                  <a:cubicBezTo>
                    <a:pt x="457" y="236"/>
                    <a:pt x="458" y="235"/>
                    <a:pt x="458" y="234"/>
                  </a:cubicBezTo>
                  <a:cubicBezTo>
                    <a:pt x="459" y="233"/>
                    <a:pt x="459" y="233"/>
                    <a:pt x="459" y="233"/>
                  </a:cubicBezTo>
                  <a:cubicBezTo>
                    <a:pt x="461" y="231"/>
                    <a:pt x="462" y="228"/>
                    <a:pt x="462" y="226"/>
                  </a:cubicBezTo>
                  <a:cubicBezTo>
                    <a:pt x="462" y="225"/>
                    <a:pt x="462" y="224"/>
                    <a:pt x="462" y="223"/>
                  </a:cubicBezTo>
                  <a:cubicBezTo>
                    <a:pt x="462" y="220"/>
                    <a:pt x="463" y="216"/>
                    <a:pt x="461" y="212"/>
                  </a:cubicBezTo>
                  <a:cubicBezTo>
                    <a:pt x="460" y="211"/>
                    <a:pt x="459" y="210"/>
                    <a:pt x="459" y="209"/>
                  </a:cubicBezTo>
                  <a:cubicBezTo>
                    <a:pt x="458" y="208"/>
                    <a:pt x="458" y="208"/>
                    <a:pt x="457" y="207"/>
                  </a:cubicBezTo>
                  <a:cubicBezTo>
                    <a:pt x="456" y="205"/>
                    <a:pt x="454" y="204"/>
                    <a:pt x="452" y="202"/>
                  </a:cubicBezTo>
                  <a:cubicBezTo>
                    <a:pt x="452" y="201"/>
                    <a:pt x="451" y="201"/>
                    <a:pt x="450" y="200"/>
                  </a:cubicBezTo>
                  <a:cubicBezTo>
                    <a:pt x="449" y="200"/>
                    <a:pt x="448" y="199"/>
                    <a:pt x="448" y="199"/>
                  </a:cubicBezTo>
                  <a:cubicBezTo>
                    <a:pt x="448" y="198"/>
                    <a:pt x="448" y="198"/>
                    <a:pt x="447" y="197"/>
                  </a:cubicBezTo>
                  <a:cubicBezTo>
                    <a:pt x="446" y="196"/>
                    <a:pt x="444" y="192"/>
                    <a:pt x="441" y="192"/>
                  </a:cubicBezTo>
                  <a:cubicBezTo>
                    <a:pt x="440" y="192"/>
                    <a:pt x="440" y="192"/>
                    <a:pt x="440" y="192"/>
                  </a:cubicBezTo>
                  <a:cubicBezTo>
                    <a:pt x="435" y="193"/>
                    <a:pt x="435" y="197"/>
                    <a:pt x="435" y="199"/>
                  </a:cubicBezTo>
                  <a:cubicBezTo>
                    <a:pt x="435" y="199"/>
                    <a:pt x="434" y="200"/>
                    <a:pt x="434" y="201"/>
                  </a:cubicBezTo>
                  <a:cubicBezTo>
                    <a:pt x="433" y="202"/>
                    <a:pt x="433" y="203"/>
                    <a:pt x="432" y="205"/>
                  </a:cubicBezTo>
                  <a:cubicBezTo>
                    <a:pt x="432" y="206"/>
                    <a:pt x="432" y="206"/>
                    <a:pt x="432" y="206"/>
                  </a:cubicBezTo>
                  <a:cubicBezTo>
                    <a:pt x="432" y="208"/>
                    <a:pt x="432" y="210"/>
                    <a:pt x="432" y="212"/>
                  </a:cubicBezTo>
                  <a:cubicBezTo>
                    <a:pt x="432" y="215"/>
                    <a:pt x="431" y="217"/>
                    <a:pt x="429" y="220"/>
                  </a:cubicBezTo>
                  <a:cubicBezTo>
                    <a:pt x="429" y="221"/>
                    <a:pt x="429" y="222"/>
                    <a:pt x="428" y="223"/>
                  </a:cubicBezTo>
                  <a:cubicBezTo>
                    <a:pt x="428" y="224"/>
                    <a:pt x="428" y="226"/>
                    <a:pt x="428" y="227"/>
                  </a:cubicBezTo>
                  <a:cubicBezTo>
                    <a:pt x="428" y="230"/>
                    <a:pt x="427" y="230"/>
                    <a:pt x="427" y="231"/>
                  </a:cubicBezTo>
                  <a:cubicBezTo>
                    <a:pt x="427" y="231"/>
                    <a:pt x="426" y="230"/>
                    <a:pt x="425" y="222"/>
                  </a:cubicBezTo>
                  <a:cubicBezTo>
                    <a:pt x="425" y="221"/>
                    <a:pt x="425" y="219"/>
                    <a:pt x="426" y="217"/>
                  </a:cubicBezTo>
                  <a:cubicBezTo>
                    <a:pt x="426" y="213"/>
                    <a:pt x="426" y="208"/>
                    <a:pt x="424" y="203"/>
                  </a:cubicBezTo>
                  <a:cubicBezTo>
                    <a:pt x="423" y="202"/>
                    <a:pt x="422" y="201"/>
                    <a:pt x="422" y="200"/>
                  </a:cubicBezTo>
                  <a:cubicBezTo>
                    <a:pt x="421" y="199"/>
                    <a:pt x="420" y="198"/>
                    <a:pt x="419" y="197"/>
                  </a:cubicBezTo>
                  <a:cubicBezTo>
                    <a:pt x="419" y="196"/>
                    <a:pt x="420" y="196"/>
                    <a:pt x="421" y="194"/>
                  </a:cubicBezTo>
                  <a:cubicBezTo>
                    <a:pt x="423" y="193"/>
                    <a:pt x="425" y="191"/>
                    <a:pt x="425" y="188"/>
                  </a:cubicBezTo>
                  <a:cubicBezTo>
                    <a:pt x="425" y="184"/>
                    <a:pt x="421" y="183"/>
                    <a:pt x="418" y="182"/>
                  </a:cubicBezTo>
                  <a:cubicBezTo>
                    <a:pt x="418" y="182"/>
                    <a:pt x="417" y="182"/>
                    <a:pt x="417" y="182"/>
                  </a:cubicBezTo>
                  <a:cubicBezTo>
                    <a:pt x="416" y="181"/>
                    <a:pt x="415" y="181"/>
                    <a:pt x="415" y="181"/>
                  </a:cubicBezTo>
                  <a:cubicBezTo>
                    <a:pt x="414" y="180"/>
                    <a:pt x="412" y="179"/>
                    <a:pt x="411" y="179"/>
                  </a:cubicBezTo>
                  <a:cubicBezTo>
                    <a:pt x="409" y="179"/>
                    <a:pt x="407" y="181"/>
                    <a:pt x="405" y="182"/>
                  </a:cubicBezTo>
                  <a:cubicBezTo>
                    <a:pt x="405" y="183"/>
                    <a:pt x="404" y="183"/>
                    <a:pt x="404" y="183"/>
                  </a:cubicBezTo>
                  <a:cubicBezTo>
                    <a:pt x="404" y="183"/>
                    <a:pt x="403" y="182"/>
                    <a:pt x="403" y="181"/>
                  </a:cubicBezTo>
                  <a:cubicBezTo>
                    <a:pt x="402" y="180"/>
                    <a:pt x="402" y="180"/>
                    <a:pt x="402" y="180"/>
                  </a:cubicBezTo>
                  <a:cubicBezTo>
                    <a:pt x="401" y="179"/>
                    <a:pt x="399" y="178"/>
                    <a:pt x="398" y="177"/>
                  </a:cubicBezTo>
                  <a:cubicBezTo>
                    <a:pt x="398" y="177"/>
                    <a:pt x="397" y="176"/>
                    <a:pt x="397" y="176"/>
                  </a:cubicBezTo>
                  <a:cubicBezTo>
                    <a:pt x="397" y="176"/>
                    <a:pt x="397" y="176"/>
                    <a:pt x="397" y="176"/>
                  </a:cubicBezTo>
                  <a:cubicBezTo>
                    <a:pt x="397" y="176"/>
                    <a:pt x="397" y="176"/>
                    <a:pt x="400" y="175"/>
                  </a:cubicBezTo>
                  <a:cubicBezTo>
                    <a:pt x="401" y="174"/>
                    <a:pt x="403" y="173"/>
                    <a:pt x="405" y="172"/>
                  </a:cubicBezTo>
                  <a:cubicBezTo>
                    <a:pt x="406" y="170"/>
                    <a:pt x="406" y="168"/>
                    <a:pt x="406" y="167"/>
                  </a:cubicBezTo>
                  <a:cubicBezTo>
                    <a:pt x="406" y="166"/>
                    <a:pt x="406" y="165"/>
                    <a:pt x="406" y="165"/>
                  </a:cubicBezTo>
                  <a:cubicBezTo>
                    <a:pt x="406" y="165"/>
                    <a:pt x="407" y="165"/>
                    <a:pt x="408" y="165"/>
                  </a:cubicBezTo>
                  <a:cubicBezTo>
                    <a:pt x="409" y="165"/>
                    <a:pt x="411" y="165"/>
                    <a:pt x="412" y="161"/>
                  </a:cubicBezTo>
                  <a:cubicBezTo>
                    <a:pt x="414" y="157"/>
                    <a:pt x="410" y="154"/>
                    <a:pt x="409" y="153"/>
                  </a:cubicBezTo>
                  <a:cubicBezTo>
                    <a:pt x="407" y="152"/>
                    <a:pt x="407" y="152"/>
                    <a:pt x="406" y="151"/>
                  </a:cubicBezTo>
                  <a:cubicBezTo>
                    <a:pt x="406" y="150"/>
                    <a:pt x="405" y="149"/>
                    <a:pt x="405" y="148"/>
                  </a:cubicBezTo>
                  <a:cubicBezTo>
                    <a:pt x="404" y="147"/>
                    <a:pt x="404" y="146"/>
                    <a:pt x="403" y="145"/>
                  </a:cubicBezTo>
                  <a:cubicBezTo>
                    <a:pt x="403" y="144"/>
                    <a:pt x="403" y="143"/>
                    <a:pt x="403" y="143"/>
                  </a:cubicBezTo>
                  <a:cubicBezTo>
                    <a:pt x="402" y="141"/>
                    <a:pt x="402" y="140"/>
                    <a:pt x="401" y="138"/>
                  </a:cubicBezTo>
                  <a:cubicBezTo>
                    <a:pt x="400" y="137"/>
                    <a:pt x="399" y="137"/>
                    <a:pt x="399" y="136"/>
                  </a:cubicBezTo>
                  <a:cubicBezTo>
                    <a:pt x="398" y="135"/>
                    <a:pt x="397" y="135"/>
                    <a:pt x="397" y="134"/>
                  </a:cubicBezTo>
                  <a:cubicBezTo>
                    <a:pt x="396" y="132"/>
                    <a:pt x="396" y="130"/>
                    <a:pt x="397" y="127"/>
                  </a:cubicBezTo>
                  <a:cubicBezTo>
                    <a:pt x="397" y="125"/>
                    <a:pt x="397" y="124"/>
                    <a:pt x="397" y="123"/>
                  </a:cubicBezTo>
                  <a:cubicBezTo>
                    <a:pt x="397" y="119"/>
                    <a:pt x="396" y="115"/>
                    <a:pt x="394" y="112"/>
                  </a:cubicBezTo>
                  <a:cubicBezTo>
                    <a:pt x="394" y="110"/>
                    <a:pt x="392" y="108"/>
                    <a:pt x="391" y="107"/>
                  </a:cubicBezTo>
                  <a:cubicBezTo>
                    <a:pt x="391" y="106"/>
                    <a:pt x="390" y="105"/>
                    <a:pt x="389" y="104"/>
                  </a:cubicBezTo>
                  <a:cubicBezTo>
                    <a:pt x="389" y="104"/>
                    <a:pt x="389" y="103"/>
                    <a:pt x="388" y="102"/>
                  </a:cubicBezTo>
                  <a:cubicBezTo>
                    <a:pt x="388" y="100"/>
                    <a:pt x="387" y="97"/>
                    <a:pt x="385" y="96"/>
                  </a:cubicBezTo>
                  <a:cubicBezTo>
                    <a:pt x="383" y="94"/>
                    <a:pt x="381" y="94"/>
                    <a:pt x="379" y="93"/>
                  </a:cubicBezTo>
                  <a:cubicBezTo>
                    <a:pt x="379" y="93"/>
                    <a:pt x="379" y="93"/>
                    <a:pt x="378" y="93"/>
                  </a:cubicBezTo>
                  <a:cubicBezTo>
                    <a:pt x="380" y="92"/>
                    <a:pt x="381" y="91"/>
                    <a:pt x="382" y="90"/>
                  </a:cubicBezTo>
                  <a:cubicBezTo>
                    <a:pt x="383" y="89"/>
                    <a:pt x="384" y="88"/>
                    <a:pt x="385" y="87"/>
                  </a:cubicBezTo>
                  <a:cubicBezTo>
                    <a:pt x="386" y="86"/>
                    <a:pt x="387" y="86"/>
                    <a:pt x="388" y="85"/>
                  </a:cubicBezTo>
                  <a:cubicBezTo>
                    <a:pt x="393" y="80"/>
                    <a:pt x="392" y="71"/>
                    <a:pt x="391" y="65"/>
                  </a:cubicBezTo>
                  <a:cubicBezTo>
                    <a:pt x="391" y="64"/>
                    <a:pt x="391" y="64"/>
                    <a:pt x="391" y="64"/>
                  </a:cubicBezTo>
                  <a:cubicBezTo>
                    <a:pt x="391" y="63"/>
                    <a:pt x="391" y="62"/>
                    <a:pt x="391" y="62"/>
                  </a:cubicBezTo>
                  <a:cubicBezTo>
                    <a:pt x="391" y="62"/>
                    <a:pt x="392" y="62"/>
                    <a:pt x="393" y="63"/>
                  </a:cubicBezTo>
                  <a:cubicBezTo>
                    <a:pt x="396" y="63"/>
                    <a:pt x="398" y="64"/>
                    <a:pt x="400" y="64"/>
                  </a:cubicBezTo>
                  <a:cubicBezTo>
                    <a:pt x="405" y="64"/>
                    <a:pt x="409" y="62"/>
                    <a:pt x="412" y="58"/>
                  </a:cubicBezTo>
                  <a:cubicBezTo>
                    <a:pt x="414" y="55"/>
                    <a:pt x="416" y="51"/>
                    <a:pt x="417" y="48"/>
                  </a:cubicBezTo>
                  <a:cubicBezTo>
                    <a:pt x="418" y="45"/>
                    <a:pt x="418" y="43"/>
                    <a:pt x="420" y="41"/>
                  </a:cubicBezTo>
                  <a:cubicBezTo>
                    <a:pt x="421" y="39"/>
                    <a:pt x="422" y="37"/>
                    <a:pt x="424" y="35"/>
                  </a:cubicBezTo>
                  <a:cubicBezTo>
                    <a:pt x="426" y="32"/>
                    <a:pt x="429" y="28"/>
                    <a:pt x="430" y="24"/>
                  </a:cubicBezTo>
                  <a:cubicBezTo>
                    <a:pt x="431" y="20"/>
                    <a:pt x="431" y="17"/>
                    <a:pt x="429" y="15"/>
                  </a:cubicBezTo>
                  <a:cubicBezTo>
                    <a:pt x="426" y="10"/>
                    <a:pt x="418" y="8"/>
                    <a:pt x="411" y="6"/>
                  </a:cubicBezTo>
                  <a:cubicBezTo>
                    <a:pt x="408" y="6"/>
                    <a:pt x="405" y="5"/>
                    <a:pt x="403" y="4"/>
                  </a:cubicBezTo>
                  <a:cubicBezTo>
                    <a:pt x="398" y="1"/>
                    <a:pt x="393" y="0"/>
                    <a:pt x="389" y="0"/>
                  </a:cubicBezTo>
                  <a:cubicBezTo>
                    <a:pt x="386" y="0"/>
                    <a:pt x="384" y="1"/>
                    <a:pt x="382" y="1"/>
                  </a:cubicBezTo>
                  <a:cubicBezTo>
                    <a:pt x="379" y="2"/>
                    <a:pt x="372" y="4"/>
                    <a:pt x="370" y="9"/>
                  </a:cubicBezTo>
                  <a:cubicBezTo>
                    <a:pt x="369" y="10"/>
                    <a:pt x="369" y="13"/>
                    <a:pt x="370" y="16"/>
                  </a:cubicBezTo>
                  <a:cubicBezTo>
                    <a:pt x="369" y="16"/>
                    <a:pt x="368" y="17"/>
                    <a:pt x="368" y="17"/>
                  </a:cubicBezTo>
                  <a:cubicBezTo>
                    <a:pt x="365" y="19"/>
                    <a:pt x="365" y="22"/>
                    <a:pt x="365" y="24"/>
                  </a:cubicBezTo>
                  <a:cubicBezTo>
                    <a:pt x="365" y="25"/>
                    <a:pt x="365" y="25"/>
                    <a:pt x="365" y="25"/>
                  </a:cubicBezTo>
                  <a:cubicBezTo>
                    <a:pt x="365" y="26"/>
                    <a:pt x="365" y="27"/>
                    <a:pt x="365" y="28"/>
                  </a:cubicBezTo>
                  <a:cubicBezTo>
                    <a:pt x="364" y="30"/>
                    <a:pt x="364" y="32"/>
                    <a:pt x="364" y="34"/>
                  </a:cubicBezTo>
                  <a:cubicBezTo>
                    <a:pt x="364" y="36"/>
                    <a:pt x="364" y="37"/>
                    <a:pt x="364" y="39"/>
                  </a:cubicBezTo>
                  <a:cubicBezTo>
                    <a:pt x="364" y="42"/>
                    <a:pt x="365" y="45"/>
                    <a:pt x="364" y="47"/>
                  </a:cubicBezTo>
                  <a:cubicBezTo>
                    <a:pt x="364" y="47"/>
                    <a:pt x="364" y="48"/>
                    <a:pt x="363" y="48"/>
                  </a:cubicBezTo>
                  <a:cubicBezTo>
                    <a:pt x="363" y="50"/>
                    <a:pt x="362" y="52"/>
                    <a:pt x="363" y="55"/>
                  </a:cubicBezTo>
                  <a:cubicBezTo>
                    <a:pt x="363" y="56"/>
                    <a:pt x="363" y="57"/>
                    <a:pt x="364" y="58"/>
                  </a:cubicBezTo>
                  <a:cubicBezTo>
                    <a:pt x="364" y="59"/>
                    <a:pt x="365" y="59"/>
                    <a:pt x="365" y="60"/>
                  </a:cubicBezTo>
                  <a:cubicBezTo>
                    <a:pt x="366" y="64"/>
                    <a:pt x="366" y="68"/>
                    <a:pt x="366" y="73"/>
                  </a:cubicBezTo>
                  <a:cubicBezTo>
                    <a:pt x="366" y="74"/>
                    <a:pt x="366" y="76"/>
                    <a:pt x="366" y="77"/>
                  </a:cubicBezTo>
                  <a:cubicBezTo>
                    <a:pt x="366" y="79"/>
                    <a:pt x="366" y="81"/>
                    <a:pt x="366" y="82"/>
                  </a:cubicBezTo>
                  <a:cubicBezTo>
                    <a:pt x="366" y="83"/>
                    <a:pt x="365" y="83"/>
                    <a:pt x="365" y="84"/>
                  </a:cubicBezTo>
                  <a:cubicBezTo>
                    <a:pt x="364" y="86"/>
                    <a:pt x="363" y="88"/>
                    <a:pt x="365" y="91"/>
                  </a:cubicBezTo>
                  <a:cubicBezTo>
                    <a:pt x="365" y="91"/>
                    <a:pt x="365" y="91"/>
                    <a:pt x="365" y="91"/>
                  </a:cubicBezTo>
                  <a:cubicBezTo>
                    <a:pt x="363" y="92"/>
                    <a:pt x="363" y="94"/>
                    <a:pt x="362" y="95"/>
                  </a:cubicBezTo>
                  <a:cubicBezTo>
                    <a:pt x="362" y="96"/>
                    <a:pt x="362" y="96"/>
                    <a:pt x="362" y="96"/>
                  </a:cubicBezTo>
                  <a:cubicBezTo>
                    <a:pt x="362" y="96"/>
                    <a:pt x="362" y="96"/>
                    <a:pt x="361" y="97"/>
                  </a:cubicBezTo>
                  <a:cubicBezTo>
                    <a:pt x="359" y="97"/>
                    <a:pt x="357" y="98"/>
                    <a:pt x="356" y="100"/>
                  </a:cubicBezTo>
                  <a:cubicBezTo>
                    <a:pt x="355" y="102"/>
                    <a:pt x="355" y="105"/>
                    <a:pt x="356" y="106"/>
                  </a:cubicBezTo>
                  <a:cubicBezTo>
                    <a:pt x="357" y="107"/>
                    <a:pt x="358" y="108"/>
                    <a:pt x="360" y="108"/>
                  </a:cubicBezTo>
                  <a:cubicBezTo>
                    <a:pt x="360" y="108"/>
                    <a:pt x="360" y="108"/>
                    <a:pt x="359" y="108"/>
                  </a:cubicBezTo>
                  <a:cubicBezTo>
                    <a:pt x="359" y="108"/>
                    <a:pt x="359" y="108"/>
                    <a:pt x="358" y="108"/>
                  </a:cubicBezTo>
                  <a:cubicBezTo>
                    <a:pt x="358" y="108"/>
                    <a:pt x="357" y="108"/>
                    <a:pt x="356" y="108"/>
                  </a:cubicBezTo>
                  <a:cubicBezTo>
                    <a:pt x="355" y="108"/>
                    <a:pt x="352" y="108"/>
                    <a:pt x="350" y="110"/>
                  </a:cubicBezTo>
                  <a:cubicBezTo>
                    <a:pt x="348" y="113"/>
                    <a:pt x="347" y="118"/>
                    <a:pt x="346" y="121"/>
                  </a:cubicBezTo>
                  <a:cubicBezTo>
                    <a:pt x="345" y="122"/>
                    <a:pt x="345" y="123"/>
                    <a:pt x="345" y="124"/>
                  </a:cubicBezTo>
                  <a:cubicBezTo>
                    <a:pt x="345" y="124"/>
                    <a:pt x="345" y="125"/>
                    <a:pt x="345" y="125"/>
                  </a:cubicBezTo>
                  <a:cubicBezTo>
                    <a:pt x="343" y="128"/>
                    <a:pt x="341" y="136"/>
                    <a:pt x="347" y="139"/>
                  </a:cubicBezTo>
                  <a:cubicBezTo>
                    <a:pt x="348" y="139"/>
                    <a:pt x="348" y="139"/>
                    <a:pt x="349" y="139"/>
                  </a:cubicBezTo>
                  <a:cubicBezTo>
                    <a:pt x="349" y="139"/>
                    <a:pt x="348" y="140"/>
                    <a:pt x="348" y="140"/>
                  </a:cubicBezTo>
                  <a:cubicBezTo>
                    <a:pt x="346" y="141"/>
                    <a:pt x="345" y="143"/>
                    <a:pt x="344" y="144"/>
                  </a:cubicBezTo>
                  <a:cubicBezTo>
                    <a:pt x="344" y="144"/>
                    <a:pt x="344" y="145"/>
                    <a:pt x="343" y="145"/>
                  </a:cubicBezTo>
                  <a:cubicBezTo>
                    <a:pt x="343" y="146"/>
                    <a:pt x="342" y="146"/>
                    <a:pt x="341" y="148"/>
                  </a:cubicBezTo>
                  <a:cubicBezTo>
                    <a:pt x="340" y="151"/>
                    <a:pt x="340" y="156"/>
                    <a:pt x="340" y="158"/>
                  </a:cubicBezTo>
                  <a:cubicBezTo>
                    <a:pt x="341" y="161"/>
                    <a:pt x="342" y="162"/>
                    <a:pt x="344" y="163"/>
                  </a:cubicBezTo>
                  <a:cubicBezTo>
                    <a:pt x="344" y="164"/>
                    <a:pt x="345" y="164"/>
                    <a:pt x="345" y="165"/>
                  </a:cubicBezTo>
                  <a:cubicBezTo>
                    <a:pt x="345" y="165"/>
                    <a:pt x="345" y="166"/>
                    <a:pt x="345" y="166"/>
                  </a:cubicBezTo>
                  <a:cubicBezTo>
                    <a:pt x="345" y="167"/>
                    <a:pt x="345" y="168"/>
                    <a:pt x="345" y="170"/>
                  </a:cubicBezTo>
                  <a:cubicBezTo>
                    <a:pt x="346" y="172"/>
                    <a:pt x="347" y="173"/>
                    <a:pt x="349" y="174"/>
                  </a:cubicBezTo>
                  <a:cubicBezTo>
                    <a:pt x="351" y="175"/>
                    <a:pt x="353" y="176"/>
                    <a:pt x="355" y="177"/>
                  </a:cubicBezTo>
                  <a:cubicBezTo>
                    <a:pt x="356" y="177"/>
                    <a:pt x="356" y="177"/>
                    <a:pt x="357" y="178"/>
                  </a:cubicBezTo>
                  <a:cubicBezTo>
                    <a:pt x="360" y="179"/>
                    <a:pt x="362" y="181"/>
                    <a:pt x="364" y="182"/>
                  </a:cubicBezTo>
                  <a:cubicBezTo>
                    <a:pt x="365" y="184"/>
                    <a:pt x="367" y="185"/>
                    <a:pt x="368" y="186"/>
                  </a:cubicBezTo>
                  <a:cubicBezTo>
                    <a:pt x="370" y="187"/>
                    <a:pt x="372" y="188"/>
                    <a:pt x="374" y="188"/>
                  </a:cubicBezTo>
                  <a:cubicBezTo>
                    <a:pt x="374" y="188"/>
                    <a:pt x="375" y="188"/>
                    <a:pt x="375" y="188"/>
                  </a:cubicBezTo>
                  <a:cubicBezTo>
                    <a:pt x="376" y="188"/>
                    <a:pt x="377" y="188"/>
                    <a:pt x="378" y="188"/>
                  </a:cubicBezTo>
                  <a:cubicBezTo>
                    <a:pt x="378" y="188"/>
                    <a:pt x="379" y="188"/>
                    <a:pt x="379" y="188"/>
                  </a:cubicBezTo>
                  <a:cubicBezTo>
                    <a:pt x="380" y="188"/>
                    <a:pt x="380" y="188"/>
                    <a:pt x="381" y="188"/>
                  </a:cubicBezTo>
                  <a:cubicBezTo>
                    <a:pt x="381" y="189"/>
                    <a:pt x="380" y="189"/>
                    <a:pt x="379" y="190"/>
                  </a:cubicBezTo>
                  <a:cubicBezTo>
                    <a:pt x="379" y="190"/>
                    <a:pt x="379" y="190"/>
                    <a:pt x="379" y="190"/>
                  </a:cubicBezTo>
                  <a:cubicBezTo>
                    <a:pt x="378" y="190"/>
                    <a:pt x="377" y="189"/>
                    <a:pt x="377" y="189"/>
                  </a:cubicBezTo>
                  <a:cubicBezTo>
                    <a:pt x="376" y="189"/>
                    <a:pt x="375" y="189"/>
                    <a:pt x="374" y="189"/>
                  </a:cubicBezTo>
                  <a:cubicBezTo>
                    <a:pt x="368" y="189"/>
                    <a:pt x="367" y="193"/>
                    <a:pt x="367" y="195"/>
                  </a:cubicBezTo>
                  <a:cubicBezTo>
                    <a:pt x="367" y="196"/>
                    <a:pt x="368" y="197"/>
                    <a:pt x="368" y="198"/>
                  </a:cubicBezTo>
                  <a:cubicBezTo>
                    <a:pt x="368" y="199"/>
                    <a:pt x="368" y="201"/>
                    <a:pt x="368" y="201"/>
                  </a:cubicBezTo>
                  <a:cubicBezTo>
                    <a:pt x="367" y="202"/>
                    <a:pt x="363" y="203"/>
                    <a:pt x="362" y="208"/>
                  </a:cubicBezTo>
                  <a:cubicBezTo>
                    <a:pt x="362" y="211"/>
                    <a:pt x="363" y="214"/>
                    <a:pt x="365" y="216"/>
                  </a:cubicBezTo>
                  <a:cubicBezTo>
                    <a:pt x="367" y="217"/>
                    <a:pt x="368" y="218"/>
                    <a:pt x="369" y="218"/>
                  </a:cubicBezTo>
                  <a:cubicBezTo>
                    <a:pt x="373" y="218"/>
                    <a:pt x="374" y="215"/>
                    <a:pt x="376" y="212"/>
                  </a:cubicBezTo>
                  <a:cubicBezTo>
                    <a:pt x="376" y="213"/>
                    <a:pt x="376" y="214"/>
                    <a:pt x="376" y="214"/>
                  </a:cubicBezTo>
                  <a:cubicBezTo>
                    <a:pt x="376" y="216"/>
                    <a:pt x="376" y="217"/>
                    <a:pt x="376" y="219"/>
                  </a:cubicBezTo>
                  <a:cubicBezTo>
                    <a:pt x="376" y="219"/>
                    <a:pt x="375" y="219"/>
                    <a:pt x="374" y="220"/>
                  </a:cubicBezTo>
                  <a:cubicBezTo>
                    <a:pt x="373" y="221"/>
                    <a:pt x="371" y="223"/>
                    <a:pt x="369" y="225"/>
                  </a:cubicBezTo>
                  <a:cubicBezTo>
                    <a:pt x="367" y="226"/>
                    <a:pt x="366" y="228"/>
                    <a:pt x="365" y="230"/>
                  </a:cubicBezTo>
                  <a:cubicBezTo>
                    <a:pt x="364" y="232"/>
                    <a:pt x="364" y="232"/>
                    <a:pt x="364" y="232"/>
                  </a:cubicBezTo>
                  <a:cubicBezTo>
                    <a:pt x="364" y="232"/>
                    <a:pt x="364" y="232"/>
                    <a:pt x="364" y="233"/>
                  </a:cubicBezTo>
                  <a:cubicBezTo>
                    <a:pt x="363" y="233"/>
                    <a:pt x="363" y="234"/>
                    <a:pt x="363" y="234"/>
                  </a:cubicBezTo>
                  <a:cubicBezTo>
                    <a:pt x="363" y="234"/>
                    <a:pt x="362" y="234"/>
                    <a:pt x="362" y="234"/>
                  </a:cubicBezTo>
                  <a:cubicBezTo>
                    <a:pt x="362" y="234"/>
                    <a:pt x="361" y="234"/>
                    <a:pt x="361" y="234"/>
                  </a:cubicBezTo>
                  <a:cubicBezTo>
                    <a:pt x="360" y="234"/>
                    <a:pt x="360" y="234"/>
                    <a:pt x="359" y="234"/>
                  </a:cubicBezTo>
                  <a:cubicBezTo>
                    <a:pt x="357" y="234"/>
                    <a:pt x="356" y="234"/>
                    <a:pt x="354" y="235"/>
                  </a:cubicBezTo>
                  <a:cubicBezTo>
                    <a:pt x="351" y="237"/>
                    <a:pt x="349" y="239"/>
                    <a:pt x="347" y="242"/>
                  </a:cubicBezTo>
                  <a:cubicBezTo>
                    <a:pt x="347" y="242"/>
                    <a:pt x="347" y="242"/>
                    <a:pt x="347" y="242"/>
                  </a:cubicBezTo>
                  <a:cubicBezTo>
                    <a:pt x="344" y="247"/>
                    <a:pt x="345" y="251"/>
                    <a:pt x="346" y="254"/>
                  </a:cubicBezTo>
                  <a:cubicBezTo>
                    <a:pt x="346" y="255"/>
                    <a:pt x="346" y="255"/>
                    <a:pt x="346" y="255"/>
                  </a:cubicBezTo>
                  <a:cubicBezTo>
                    <a:pt x="347" y="256"/>
                    <a:pt x="347" y="257"/>
                    <a:pt x="347" y="259"/>
                  </a:cubicBezTo>
                  <a:cubicBezTo>
                    <a:pt x="347" y="259"/>
                    <a:pt x="348" y="260"/>
                    <a:pt x="348" y="260"/>
                  </a:cubicBezTo>
                  <a:cubicBezTo>
                    <a:pt x="348" y="262"/>
                    <a:pt x="348" y="263"/>
                    <a:pt x="349" y="265"/>
                  </a:cubicBezTo>
                  <a:cubicBezTo>
                    <a:pt x="349" y="267"/>
                    <a:pt x="349" y="268"/>
                    <a:pt x="348" y="269"/>
                  </a:cubicBezTo>
                  <a:cubicBezTo>
                    <a:pt x="348" y="270"/>
                    <a:pt x="348" y="270"/>
                    <a:pt x="348" y="270"/>
                  </a:cubicBezTo>
                  <a:cubicBezTo>
                    <a:pt x="348" y="270"/>
                    <a:pt x="348" y="270"/>
                    <a:pt x="347" y="270"/>
                  </a:cubicBezTo>
                  <a:cubicBezTo>
                    <a:pt x="347" y="270"/>
                    <a:pt x="346" y="269"/>
                    <a:pt x="345" y="269"/>
                  </a:cubicBezTo>
                  <a:cubicBezTo>
                    <a:pt x="345" y="268"/>
                    <a:pt x="344" y="268"/>
                    <a:pt x="344" y="268"/>
                  </a:cubicBezTo>
                  <a:cubicBezTo>
                    <a:pt x="343" y="268"/>
                    <a:pt x="342" y="268"/>
                    <a:pt x="342" y="267"/>
                  </a:cubicBezTo>
                  <a:cubicBezTo>
                    <a:pt x="342" y="267"/>
                    <a:pt x="342" y="266"/>
                    <a:pt x="342" y="265"/>
                  </a:cubicBezTo>
                  <a:cubicBezTo>
                    <a:pt x="342" y="264"/>
                    <a:pt x="342" y="264"/>
                    <a:pt x="342" y="263"/>
                  </a:cubicBezTo>
                  <a:cubicBezTo>
                    <a:pt x="342" y="262"/>
                    <a:pt x="341" y="260"/>
                    <a:pt x="340" y="259"/>
                  </a:cubicBezTo>
                  <a:cubicBezTo>
                    <a:pt x="340" y="258"/>
                    <a:pt x="340" y="257"/>
                    <a:pt x="340" y="257"/>
                  </a:cubicBezTo>
                  <a:cubicBezTo>
                    <a:pt x="340" y="255"/>
                    <a:pt x="340" y="254"/>
                    <a:pt x="341" y="252"/>
                  </a:cubicBezTo>
                  <a:cubicBezTo>
                    <a:pt x="341" y="251"/>
                    <a:pt x="341" y="250"/>
                    <a:pt x="341" y="249"/>
                  </a:cubicBezTo>
                  <a:cubicBezTo>
                    <a:pt x="341" y="249"/>
                    <a:pt x="341" y="248"/>
                    <a:pt x="342" y="247"/>
                  </a:cubicBezTo>
                  <a:cubicBezTo>
                    <a:pt x="342" y="246"/>
                    <a:pt x="343" y="245"/>
                    <a:pt x="344" y="244"/>
                  </a:cubicBezTo>
                  <a:cubicBezTo>
                    <a:pt x="346" y="242"/>
                    <a:pt x="348" y="240"/>
                    <a:pt x="348" y="236"/>
                  </a:cubicBezTo>
                  <a:cubicBezTo>
                    <a:pt x="348" y="234"/>
                    <a:pt x="347" y="233"/>
                    <a:pt x="346" y="231"/>
                  </a:cubicBezTo>
                  <a:cubicBezTo>
                    <a:pt x="345" y="230"/>
                    <a:pt x="343" y="229"/>
                    <a:pt x="341" y="229"/>
                  </a:cubicBezTo>
                  <a:cubicBezTo>
                    <a:pt x="340" y="229"/>
                    <a:pt x="340" y="229"/>
                    <a:pt x="340" y="229"/>
                  </a:cubicBezTo>
                  <a:cubicBezTo>
                    <a:pt x="339" y="228"/>
                    <a:pt x="339" y="227"/>
                    <a:pt x="338" y="226"/>
                  </a:cubicBezTo>
                  <a:cubicBezTo>
                    <a:pt x="337" y="226"/>
                    <a:pt x="336" y="226"/>
                    <a:pt x="335" y="226"/>
                  </a:cubicBezTo>
                  <a:cubicBezTo>
                    <a:pt x="335" y="226"/>
                    <a:pt x="334" y="226"/>
                    <a:pt x="334" y="226"/>
                  </a:cubicBezTo>
                  <a:cubicBezTo>
                    <a:pt x="334" y="225"/>
                    <a:pt x="334" y="224"/>
                    <a:pt x="334" y="224"/>
                  </a:cubicBezTo>
                  <a:cubicBezTo>
                    <a:pt x="332" y="222"/>
                    <a:pt x="331" y="221"/>
                    <a:pt x="330" y="220"/>
                  </a:cubicBezTo>
                  <a:cubicBezTo>
                    <a:pt x="329" y="220"/>
                    <a:pt x="329" y="220"/>
                    <a:pt x="329" y="220"/>
                  </a:cubicBezTo>
                  <a:cubicBezTo>
                    <a:pt x="329" y="220"/>
                    <a:pt x="328" y="219"/>
                    <a:pt x="328" y="219"/>
                  </a:cubicBezTo>
                  <a:cubicBezTo>
                    <a:pt x="327" y="219"/>
                    <a:pt x="327" y="218"/>
                    <a:pt x="326" y="217"/>
                  </a:cubicBezTo>
                  <a:cubicBezTo>
                    <a:pt x="325" y="217"/>
                    <a:pt x="323" y="217"/>
                    <a:pt x="322" y="217"/>
                  </a:cubicBezTo>
                  <a:cubicBezTo>
                    <a:pt x="320" y="217"/>
                    <a:pt x="318" y="218"/>
                    <a:pt x="316" y="219"/>
                  </a:cubicBezTo>
                  <a:cubicBezTo>
                    <a:pt x="316" y="219"/>
                    <a:pt x="315" y="219"/>
                    <a:pt x="315" y="220"/>
                  </a:cubicBezTo>
                  <a:cubicBezTo>
                    <a:pt x="315" y="220"/>
                    <a:pt x="315" y="220"/>
                    <a:pt x="314" y="220"/>
                  </a:cubicBezTo>
                  <a:cubicBezTo>
                    <a:pt x="314" y="220"/>
                    <a:pt x="314" y="220"/>
                    <a:pt x="313" y="220"/>
                  </a:cubicBezTo>
                  <a:cubicBezTo>
                    <a:pt x="313" y="220"/>
                    <a:pt x="312" y="220"/>
                    <a:pt x="312" y="220"/>
                  </a:cubicBezTo>
                  <a:cubicBezTo>
                    <a:pt x="310" y="220"/>
                    <a:pt x="308" y="220"/>
                    <a:pt x="307" y="221"/>
                  </a:cubicBezTo>
                  <a:cubicBezTo>
                    <a:pt x="304" y="224"/>
                    <a:pt x="305" y="228"/>
                    <a:pt x="305" y="230"/>
                  </a:cubicBezTo>
                  <a:cubicBezTo>
                    <a:pt x="305" y="231"/>
                    <a:pt x="305" y="231"/>
                    <a:pt x="305" y="231"/>
                  </a:cubicBezTo>
                  <a:cubicBezTo>
                    <a:pt x="306" y="233"/>
                    <a:pt x="306" y="238"/>
                    <a:pt x="310" y="240"/>
                  </a:cubicBezTo>
                  <a:cubicBezTo>
                    <a:pt x="312" y="241"/>
                    <a:pt x="313" y="242"/>
                    <a:pt x="315" y="242"/>
                  </a:cubicBezTo>
                  <a:cubicBezTo>
                    <a:pt x="317" y="242"/>
                    <a:pt x="319" y="241"/>
                    <a:pt x="320" y="241"/>
                  </a:cubicBezTo>
                  <a:cubicBezTo>
                    <a:pt x="321" y="241"/>
                    <a:pt x="321" y="241"/>
                    <a:pt x="321" y="241"/>
                  </a:cubicBezTo>
                  <a:cubicBezTo>
                    <a:pt x="322" y="241"/>
                    <a:pt x="322" y="241"/>
                    <a:pt x="322" y="241"/>
                  </a:cubicBezTo>
                  <a:cubicBezTo>
                    <a:pt x="322" y="241"/>
                    <a:pt x="322" y="241"/>
                    <a:pt x="322" y="241"/>
                  </a:cubicBezTo>
                  <a:cubicBezTo>
                    <a:pt x="322" y="241"/>
                    <a:pt x="322" y="242"/>
                    <a:pt x="322" y="242"/>
                  </a:cubicBezTo>
                  <a:cubicBezTo>
                    <a:pt x="323" y="243"/>
                    <a:pt x="323" y="244"/>
                    <a:pt x="324" y="246"/>
                  </a:cubicBezTo>
                  <a:cubicBezTo>
                    <a:pt x="324" y="247"/>
                    <a:pt x="324" y="247"/>
                    <a:pt x="324" y="248"/>
                  </a:cubicBezTo>
                  <a:cubicBezTo>
                    <a:pt x="324" y="249"/>
                    <a:pt x="322" y="250"/>
                    <a:pt x="321" y="250"/>
                  </a:cubicBezTo>
                  <a:cubicBezTo>
                    <a:pt x="320" y="250"/>
                    <a:pt x="320" y="250"/>
                    <a:pt x="320" y="250"/>
                  </a:cubicBezTo>
                  <a:cubicBezTo>
                    <a:pt x="319" y="249"/>
                    <a:pt x="318" y="248"/>
                    <a:pt x="317" y="247"/>
                  </a:cubicBezTo>
                  <a:cubicBezTo>
                    <a:pt x="317" y="246"/>
                    <a:pt x="316" y="244"/>
                    <a:pt x="314" y="243"/>
                  </a:cubicBezTo>
                  <a:cubicBezTo>
                    <a:pt x="313" y="242"/>
                    <a:pt x="310" y="241"/>
                    <a:pt x="308" y="241"/>
                  </a:cubicBezTo>
                  <a:cubicBezTo>
                    <a:pt x="305" y="241"/>
                    <a:pt x="303" y="242"/>
                    <a:pt x="301" y="243"/>
                  </a:cubicBezTo>
                  <a:cubicBezTo>
                    <a:pt x="300" y="243"/>
                    <a:pt x="300" y="243"/>
                    <a:pt x="300" y="243"/>
                  </a:cubicBezTo>
                  <a:cubicBezTo>
                    <a:pt x="299" y="243"/>
                    <a:pt x="299" y="244"/>
                    <a:pt x="298" y="244"/>
                  </a:cubicBezTo>
                  <a:cubicBezTo>
                    <a:pt x="298" y="244"/>
                    <a:pt x="298" y="244"/>
                    <a:pt x="298" y="244"/>
                  </a:cubicBezTo>
                  <a:cubicBezTo>
                    <a:pt x="297" y="243"/>
                    <a:pt x="297" y="242"/>
                    <a:pt x="296" y="242"/>
                  </a:cubicBezTo>
                  <a:cubicBezTo>
                    <a:pt x="295" y="241"/>
                    <a:pt x="294" y="240"/>
                    <a:pt x="293" y="239"/>
                  </a:cubicBezTo>
                  <a:cubicBezTo>
                    <a:pt x="291" y="238"/>
                    <a:pt x="290" y="238"/>
                    <a:pt x="289" y="238"/>
                  </a:cubicBezTo>
                  <a:cubicBezTo>
                    <a:pt x="288" y="238"/>
                    <a:pt x="288" y="238"/>
                    <a:pt x="288" y="238"/>
                  </a:cubicBezTo>
                  <a:cubicBezTo>
                    <a:pt x="287" y="238"/>
                    <a:pt x="287" y="238"/>
                    <a:pt x="287" y="238"/>
                  </a:cubicBezTo>
                  <a:cubicBezTo>
                    <a:pt x="286" y="238"/>
                    <a:pt x="285" y="237"/>
                    <a:pt x="284" y="237"/>
                  </a:cubicBezTo>
                  <a:cubicBezTo>
                    <a:pt x="282" y="236"/>
                    <a:pt x="281" y="236"/>
                    <a:pt x="279" y="236"/>
                  </a:cubicBezTo>
                  <a:cubicBezTo>
                    <a:pt x="278" y="236"/>
                    <a:pt x="278" y="236"/>
                    <a:pt x="277" y="236"/>
                  </a:cubicBezTo>
                  <a:cubicBezTo>
                    <a:pt x="274" y="236"/>
                    <a:pt x="271" y="236"/>
                    <a:pt x="269" y="237"/>
                  </a:cubicBezTo>
                  <a:cubicBezTo>
                    <a:pt x="268" y="237"/>
                    <a:pt x="267" y="237"/>
                    <a:pt x="267" y="237"/>
                  </a:cubicBezTo>
                  <a:cubicBezTo>
                    <a:pt x="265" y="238"/>
                    <a:pt x="264" y="238"/>
                    <a:pt x="262" y="238"/>
                  </a:cubicBezTo>
                  <a:cubicBezTo>
                    <a:pt x="262" y="238"/>
                    <a:pt x="261" y="238"/>
                    <a:pt x="261" y="237"/>
                  </a:cubicBezTo>
                  <a:cubicBezTo>
                    <a:pt x="260" y="236"/>
                    <a:pt x="260" y="236"/>
                    <a:pt x="258" y="235"/>
                  </a:cubicBezTo>
                  <a:cubicBezTo>
                    <a:pt x="257" y="234"/>
                    <a:pt x="256" y="234"/>
                    <a:pt x="255" y="234"/>
                  </a:cubicBezTo>
                  <a:cubicBezTo>
                    <a:pt x="254" y="234"/>
                    <a:pt x="254" y="234"/>
                    <a:pt x="254" y="234"/>
                  </a:cubicBezTo>
                  <a:cubicBezTo>
                    <a:pt x="254" y="237"/>
                    <a:pt x="254" y="237"/>
                    <a:pt x="254" y="237"/>
                  </a:cubicBezTo>
                  <a:cubicBezTo>
                    <a:pt x="254" y="234"/>
                    <a:pt x="254" y="234"/>
                    <a:pt x="254" y="234"/>
                  </a:cubicBezTo>
                  <a:cubicBezTo>
                    <a:pt x="252" y="234"/>
                    <a:pt x="251" y="234"/>
                    <a:pt x="250" y="232"/>
                  </a:cubicBezTo>
                  <a:cubicBezTo>
                    <a:pt x="249" y="231"/>
                    <a:pt x="249" y="231"/>
                    <a:pt x="248" y="230"/>
                  </a:cubicBezTo>
                  <a:cubicBezTo>
                    <a:pt x="247" y="230"/>
                    <a:pt x="247" y="229"/>
                    <a:pt x="246" y="229"/>
                  </a:cubicBezTo>
                  <a:cubicBezTo>
                    <a:pt x="246" y="229"/>
                    <a:pt x="246" y="229"/>
                    <a:pt x="246" y="229"/>
                  </a:cubicBezTo>
                  <a:cubicBezTo>
                    <a:pt x="246" y="228"/>
                    <a:pt x="245" y="227"/>
                    <a:pt x="245" y="227"/>
                  </a:cubicBezTo>
                  <a:cubicBezTo>
                    <a:pt x="244" y="226"/>
                    <a:pt x="244" y="226"/>
                    <a:pt x="244" y="226"/>
                  </a:cubicBezTo>
                  <a:cubicBezTo>
                    <a:pt x="243" y="222"/>
                    <a:pt x="241" y="218"/>
                    <a:pt x="236" y="218"/>
                  </a:cubicBezTo>
                  <a:cubicBezTo>
                    <a:pt x="235" y="218"/>
                    <a:pt x="235" y="218"/>
                    <a:pt x="234" y="218"/>
                  </a:cubicBezTo>
                  <a:cubicBezTo>
                    <a:pt x="233" y="218"/>
                    <a:pt x="231" y="219"/>
                    <a:pt x="229" y="219"/>
                  </a:cubicBezTo>
                  <a:cubicBezTo>
                    <a:pt x="228" y="219"/>
                    <a:pt x="227" y="218"/>
                    <a:pt x="227" y="218"/>
                  </a:cubicBezTo>
                  <a:cubicBezTo>
                    <a:pt x="226" y="218"/>
                    <a:pt x="225" y="215"/>
                    <a:pt x="225" y="214"/>
                  </a:cubicBezTo>
                  <a:cubicBezTo>
                    <a:pt x="225" y="213"/>
                    <a:pt x="225" y="213"/>
                    <a:pt x="225" y="213"/>
                  </a:cubicBezTo>
                  <a:cubicBezTo>
                    <a:pt x="224" y="211"/>
                    <a:pt x="223" y="209"/>
                    <a:pt x="222" y="207"/>
                  </a:cubicBezTo>
                  <a:cubicBezTo>
                    <a:pt x="220" y="205"/>
                    <a:pt x="218" y="205"/>
                    <a:pt x="217" y="205"/>
                  </a:cubicBezTo>
                  <a:cubicBezTo>
                    <a:pt x="217" y="205"/>
                    <a:pt x="217" y="204"/>
                    <a:pt x="217" y="204"/>
                  </a:cubicBezTo>
                  <a:cubicBezTo>
                    <a:pt x="217" y="204"/>
                    <a:pt x="217" y="202"/>
                    <a:pt x="217" y="201"/>
                  </a:cubicBezTo>
                  <a:cubicBezTo>
                    <a:pt x="217" y="201"/>
                    <a:pt x="217" y="201"/>
                    <a:pt x="217" y="201"/>
                  </a:cubicBezTo>
                  <a:cubicBezTo>
                    <a:pt x="217" y="199"/>
                    <a:pt x="217" y="198"/>
                    <a:pt x="218" y="197"/>
                  </a:cubicBezTo>
                  <a:cubicBezTo>
                    <a:pt x="218" y="194"/>
                    <a:pt x="219" y="190"/>
                    <a:pt x="217" y="185"/>
                  </a:cubicBezTo>
                  <a:cubicBezTo>
                    <a:pt x="216" y="184"/>
                    <a:pt x="214" y="179"/>
                    <a:pt x="208" y="179"/>
                  </a:cubicBezTo>
                  <a:cubicBezTo>
                    <a:pt x="207" y="179"/>
                    <a:pt x="206" y="179"/>
                    <a:pt x="205" y="179"/>
                  </a:cubicBezTo>
                  <a:cubicBezTo>
                    <a:pt x="203" y="179"/>
                    <a:pt x="200" y="179"/>
                    <a:pt x="197" y="179"/>
                  </a:cubicBezTo>
                  <a:cubicBezTo>
                    <a:pt x="194" y="180"/>
                    <a:pt x="193" y="180"/>
                    <a:pt x="191" y="182"/>
                  </a:cubicBezTo>
                  <a:cubicBezTo>
                    <a:pt x="190" y="182"/>
                    <a:pt x="189" y="182"/>
                    <a:pt x="188" y="182"/>
                  </a:cubicBezTo>
                  <a:cubicBezTo>
                    <a:pt x="187" y="182"/>
                    <a:pt x="185" y="182"/>
                    <a:pt x="184" y="182"/>
                  </a:cubicBezTo>
                  <a:cubicBezTo>
                    <a:pt x="182" y="181"/>
                    <a:pt x="180" y="181"/>
                    <a:pt x="179" y="181"/>
                  </a:cubicBezTo>
                  <a:cubicBezTo>
                    <a:pt x="178" y="181"/>
                    <a:pt x="177" y="181"/>
                    <a:pt x="176" y="181"/>
                  </a:cubicBezTo>
                  <a:cubicBezTo>
                    <a:pt x="176" y="181"/>
                    <a:pt x="174" y="182"/>
                    <a:pt x="173" y="183"/>
                  </a:cubicBezTo>
                  <a:cubicBezTo>
                    <a:pt x="172" y="184"/>
                    <a:pt x="172" y="184"/>
                    <a:pt x="171" y="185"/>
                  </a:cubicBezTo>
                  <a:cubicBezTo>
                    <a:pt x="171" y="185"/>
                    <a:pt x="171" y="185"/>
                    <a:pt x="170" y="185"/>
                  </a:cubicBezTo>
                  <a:cubicBezTo>
                    <a:pt x="168" y="186"/>
                    <a:pt x="166" y="187"/>
                    <a:pt x="165" y="190"/>
                  </a:cubicBezTo>
                  <a:cubicBezTo>
                    <a:pt x="163" y="194"/>
                    <a:pt x="166" y="199"/>
                    <a:pt x="167" y="200"/>
                  </a:cubicBezTo>
                  <a:cubicBezTo>
                    <a:pt x="167" y="201"/>
                    <a:pt x="167" y="201"/>
                    <a:pt x="167" y="201"/>
                  </a:cubicBezTo>
                  <a:cubicBezTo>
                    <a:pt x="168" y="202"/>
                    <a:pt x="170" y="204"/>
                    <a:pt x="171" y="205"/>
                  </a:cubicBezTo>
                  <a:cubicBezTo>
                    <a:pt x="172" y="205"/>
                    <a:pt x="174" y="205"/>
                    <a:pt x="175" y="205"/>
                  </a:cubicBezTo>
                  <a:cubicBezTo>
                    <a:pt x="178" y="205"/>
                    <a:pt x="180" y="204"/>
                    <a:pt x="181" y="201"/>
                  </a:cubicBezTo>
                  <a:cubicBezTo>
                    <a:pt x="181" y="201"/>
                    <a:pt x="182" y="199"/>
                    <a:pt x="183" y="199"/>
                  </a:cubicBezTo>
                  <a:cubicBezTo>
                    <a:pt x="183" y="199"/>
                    <a:pt x="183" y="199"/>
                    <a:pt x="183" y="199"/>
                  </a:cubicBezTo>
                  <a:cubicBezTo>
                    <a:pt x="183" y="200"/>
                    <a:pt x="184" y="203"/>
                    <a:pt x="188" y="204"/>
                  </a:cubicBezTo>
                  <a:cubicBezTo>
                    <a:pt x="191" y="204"/>
                    <a:pt x="194" y="202"/>
                    <a:pt x="196" y="200"/>
                  </a:cubicBezTo>
                  <a:cubicBezTo>
                    <a:pt x="197" y="200"/>
                    <a:pt x="198" y="199"/>
                    <a:pt x="199" y="199"/>
                  </a:cubicBezTo>
                  <a:cubicBezTo>
                    <a:pt x="201" y="198"/>
                    <a:pt x="203" y="197"/>
                    <a:pt x="205" y="197"/>
                  </a:cubicBezTo>
                  <a:cubicBezTo>
                    <a:pt x="205" y="196"/>
                    <a:pt x="206" y="196"/>
                    <a:pt x="207" y="196"/>
                  </a:cubicBezTo>
                  <a:cubicBezTo>
                    <a:pt x="207" y="196"/>
                    <a:pt x="207" y="196"/>
                    <a:pt x="207" y="196"/>
                  </a:cubicBezTo>
                  <a:cubicBezTo>
                    <a:pt x="207" y="198"/>
                    <a:pt x="201" y="200"/>
                    <a:pt x="198" y="202"/>
                  </a:cubicBezTo>
                  <a:cubicBezTo>
                    <a:pt x="197" y="202"/>
                    <a:pt x="196" y="203"/>
                    <a:pt x="196" y="203"/>
                  </a:cubicBezTo>
                  <a:cubicBezTo>
                    <a:pt x="193" y="204"/>
                    <a:pt x="190" y="205"/>
                    <a:pt x="187" y="205"/>
                  </a:cubicBezTo>
                  <a:cubicBezTo>
                    <a:pt x="183" y="205"/>
                    <a:pt x="179" y="206"/>
                    <a:pt x="176" y="208"/>
                  </a:cubicBezTo>
                  <a:cubicBezTo>
                    <a:pt x="166" y="213"/>
                    <a:pt x="168" y="219"/>
                    <a:pt x="169" y="224"/>
                  </a:cubicBezTo>
                  <a:cubicBezTo>
                    <a:pt x="170" y="226"/>
                    <a:pt x="170" y="228"/>
                    <a:pt x="170" y="230"/>
                  </a:cubicBezTo>
                  <a:cubicBezTo>
                    <a:pt x="171" y="231"/>
                    <a:pt x="171" y="233"/>
                    <a:pt x="170" y="235"/>
                  </a:cubicBezTo>
                  <a:cubicBezTo>
                    <a:pt x="170" y="236"/>
                    <a:pt x="170" y="238"/>
                    <a:pt x="170" y="241"/>
                  </a:cubicBezTo>
                  <a:cubicBezTo>
                    <a:pt x="170" y="242"/>
                    <a:pt x="170" y="243"/>
                    <a:pt x="171" y="244"/>
                  </a:cubicBezTo>
                  <a:cubicBezTo>
                    <a:pt x="171" y="246"/>
                    <a:pt x="172" y="248"/>
                    <a:pt x="171" y="249"/>
                  </a:cubicBezTo>
                  <a:cubicBezTo>
                    <a:pt x="171" y="250"/>
                    <a:pt x="168" y="250"/>
                    <a:pt x="166" y="250"/>
                  </a:cubicBezTo>
                  <a:cubicBezTo>
                    <a:pt x="164" y="250"/>
                    <a:pt x="163" y="250"/>
                    <a:pt x="163" y="250"/>
                  </a:cubicBezTo>
                  <a:cubicBezTo>
                    <a:pt x="163" y="250"/>
                    <a:pt x="162" y="249"/>
                    <a:pt x="162" y="247"/>
                  </a:cubicBezTo>
                  <a:cubicBezTo>
                    <a:pt x="162" y="246"/>
                    <a:pt x="162" y="245"/>
                    <a:pt x="162" y="244"/>
                  </a:cubicBezTo>
                  <a:cubicBezTo>
                    <a:pt x="163" y="244"/>
                    <a:pt x="163" y="244"/>
                    <a:pt x="164" y="243"/>
                  </a:cubicBezTo>
                  <a:cubicBezTo>
                    <a:pt x="167" y="242"/>
                    <a:pt x="169" y="237"/>
                    <a:pt x="168" y="233"/>
                  </a:cubicBezTo>
                  <a:cubicBezTo>
                    <a:pt x="168" y="230"/>
                    <a:pt x="166" y="227"/>
                    <a:pt x="164" y="226"/>
                  </a:cubicBezTo>
                  <a:cubicBezTo>
                    <a:pt x="162" y="225"/>
                    <a:pt x="160" y="225"/>
                    <a:pt x="159" y="225"/>
                  </a:cubicBezTo>
                  <a:cubicBezTo>
                    <a:pt x="158" y="224"/>
                    <a:pt x="158" y="224"/>
                    <a:pt x="158" y="224"/>
                  </a:cubicBezTo>
                  <a:cubicBezTo>
                    <a:pt x="157" y="224"/>
                    <a:pt x="158" y="221"/>
                    <a:pt x="158" y="220"/>
                  </a:cubicBezTo>
                  <a:cubicBezTo>
                    <a:pt x="158" y="218"/>
                    <a:pt x="159" y="216"/>
                    <a:pt x="158" y="214"/>
                  </a:cubicBezTo>
                  <a:cubicBezTo>
                    <a:pt x="157" y="210"/>
                    <a:pt x="154" y="209"/>
                    <a:pt x="152" y="209"/>
                  </a:cubicBezTo>
                  <a:cubicBezTo>
                    <a:pt x="151" y="209"/>
                    <a:pt x="150" y="207"/>
                    <a:pt x="149" y="207"/>
                  </a:cubicBezTo>
                  <a:cubicBezTo>
                    <a:pt x="149" y="206"/>
                    <a:pt x="149" y="205"/>
                    <a:pt x="149" y="204"/>
                  </a:cubicBezTo>
                  <a:cubicBezTo>
                    <a:pt x="149" y="202"/>
                    <a:pt x="149" y="198"/>
                    <a:pt x="146" y="196"/>
                  </a:cubicBezTo>
                  <a:cubicBezTo>
                    <a:pt x="145" y="196"/>
                    <a:pt x="144" y="196"/>
                    <a:pt x="143" y="196"/>
                  </a:cubicBezTo>
                  <a:cubicBezTo>
                    <a:pt x="143" y="196"/>
                    <a:pt x="143" y="196"/>
                    <a:pt x="142" y="196"/>
                  </a:cubicBezTo>
                  <a:cubicBezTo>
                    <a:pt x="141" y="196"/>
                    <a:pt x="141" y="196"/>
                    <a:pt x="140" y="196"/>
                  </a:cubicBezTo>
                  <a:cubicBezTo>
                    <a:pt x="138" y="196"/>
                    <a:pt x="137" y="196"/>
                    <a:pt x="136" y="196"/>
                  </a:cubicBezTo>
                  <a:cubicBezTo>
                    <a:pt x="135" y="197"/>
                    <a:pt x="135" y="197"/>
                    <a:pt x="135" y="197"/>
                  </a:cubicBezTo>
                  <a:cubicBezTo>
                    <a:pt x="134" y="198"/>
                    <a:pt x="133" y="198"/>
                    <a:pt x="132" y="198"/>
                  </a:cubicBezTo>
                  <a:cubicBezTo>
                    <a:pt x="131" y="198"/>
                    <a:pt x="131" y="198"/>
                    <a:pt x="130" y="198"/>
                  </a:cubicBezTo>
                  <a:cubicBezTo>
                    <a:pt x="127" y="198"/>
                    <a:pt x="124" y="197"/>
                    <a:pt x="121" y="197"/>
                  </a:cubicBezTo>
                  <a:cubicBezTo>
                    <a:pt x="120" y="197"/>
                    <a:pt x="120" y="196"/>
                    <a:pt x="119" y="196"/>
                  </a:cubicBezTo>
                  <a:cubicBezTo>
                    <a:pt x="118" y="196"/>
                    <a:pt x="116" y="196"/>
                    <a:pt x="115" y="195"/>
                  </a:cubicBezTo>
                  <a:cubicBezTo>
                    <a:pt x="113" y="195"/>
                    <a:pt x="113" y="195"/>
                    <a:pt x="113" y="195"/>
                  </a:cubicBezTo>
                  <a:cubicBezTo>
                    <a:pt x="112" y="195"/>
                    <a:pt x="110" y="195"/>
                    <a:pt x="109" y="194"/>
                  </a:cubicBezTo>
                  <a:cubicBezTo>
                    <a:pt x="108" y="194"/>
                    <a:pt x="106" y="194"/>
                    <a:pt x="105" y="193"/>
                  </a:cubicBezTo>
                  <a:cubicBezTo>
                    <a:pt x="103" y="193"/>
                    <a:pt x="101" y="192"/>
                    <a:pt x="99" y="191"/>
                  </a:cubicBezTo>
                  <a:cubicBezTo>
                    <a:pt x="98" y="191"/>
                    <a:pt x="98" y="191"/>
                    <a:pt x="98" y="191"/>
                  </a:cubicBezTo>
                  <a:cubicBezTo>
                    <a:pt x="97" y="191"/>
                    <a:pt x="97" y="191"/>
                    <a:pt x="96" y="191"/>
                  </a:cubicBezTo>
                  <a:cubicBezTo>
                    <a:pt x="96" y="190"/>
                    <a:pt x="96" y="190"/>
                    <a:pt x="96" y="190"/>
                  </a:cubicBezTo>
                  <a:cubicBezTo>
                    <a:pt x="95" y="189"/>
                    <a:pt x="95" y="188"/>
                    <a:pt x="93" y="187"/>
                  </a:cubicBezTo>
                  <a:cubicBezTo>
                    <a:pt x="92" y="186"/>
                    <a:pt x="92" y="186"/>
                    <a:pt x="91" y="186"/>
                  </a:cubicBezTo>
                  <a:cubicBezTo>
                    <a:pt x="91" y="186"/>
                    <a:pt x="90" y="186"/>
                    <a:pt x="90" y="185"/>
                  </a:cubicBezTo>
                  <a:cubicBezTo>
                    <a:pt x="89" y="185"/>
                    <a:pt x="89" y="185"/>
                    <a:pt x="88" y="184"/>
                  </a:cubicBezTo>
                  <a:cubicBezTo>
                    <a:pt x="88" y="184"/>
                    <a:pt x="87" y="183"/>
                    <a:pt x="86" y="182"/>
                  </a:cubicBezTo>
                  <a:cubicBezTo>
                    <a:pt x="84" y="182"/>
                    <a:pt x="83" y="181"/>
                    <a:pt x="81" y="181"/>
                  </a:cubicBezTo>
                  <a:cubicBezTo>
                    <a:pt x="81" y="180"/>
                    <a:pt x="81" y="180"/>
                    <a:pt x="81" y="180"/>
                  </a:cubicBezTo>
                  <a:cubicBezTo>
                    <a:pt x="78" y="179"/>
                    <a:pt x="76" y="178"/>
                    <a:pt x="75" y="177"/>
                  </a:cubicBezTo>
                  <a:cubicBezTo>
                    <a:pt x="78" y="176"/>
                    <a:pt x="79" y="173"/>
                    <a:pt x="79" y="172"/>
                  </a:cubicBezTo>
                  <a:cubicBezTo>
                    <a:pt x="80" y="171"/>
                    <a:pt x="80" y="171"/>
                    <a:pt x="82" y="170"/>
                  </a:cubicBezTo>
                  <a:cubicBezTo>
                    <a:pt x="84" y="170"/>
                    <a:pt x="85" y="170"/>
                    <a:pt x="87" y="170"/>
                  </a:cubicBezTo>
                  <a:cubicBezTo>
                    <a:pt x="89" y="170"/>
                    <a:pt x="91" y="170"/>
                    <a:pt x="92" y="171"/>
                  </a:cubicBezTo>
                  <a:cubicBezTo>
                    <a:pt x="93" y="171"/>
                    <a:pt x="93" y="171"/>
                    <a:pt x="94" y="171"/>
                  </a:cubicBezTo>
                  <a:cubicBezTo>
                    <a:pt x="97" y="171"/>
                    <a:pt x="100" y="169"/>
                    <a:pt x="101" y="166"/>
                  </a:cubicBezTo>
                  <a:cubicBezTo>
                    <a:pt x="103" y="164"/>
                    <a:pt x="102" y="161"/>
                    <a:pt x="101" y="159"/>
                  </a:cubicBezTo>
                  <a:cubicBezTo>
                    <a:pt x="100" y="159"/>
                    <a:pt x="100" y="158"/>
                    <a:pt x="100" y="158"/>
                  </a:cubicBezTo>
                  <a:cubicBezTo>
                    <a:pt x="100" y="154"/>
                    <a:pt x="98" y="150"/>
                    <a:pt x="96" y="148"/>
                  </a:cubicBezTo>
                  <a:cubicBezTo>
                    <a:pt x="95" y="147"/>
                    <a:pt x="95" y="145"/>
                    <a:pt x="94" y="144"/>
                  </a:cubicBezTo>
                  <a:cubicBezTo>
                    <a:pt x="94" y="143"/>
                    <a:pt x="94" y="143"/>
                    <a:pt x="94" y="143"/>
                  </a:cubicBezTo>
                  <a:cubicBezTo>
                    <a:pt x="93" y="141"/>
                    <a:pt x="90" y="134"/>
                    <a:pt x="85" y="132"/>
                  </a:cubicBezTo>
                  <a:cubicBezTo>
                    <a:pt x="84" y="131"/>
                    <a:pt x="82" y="131"/>
                    <a:pt x="81" y="131"/>
                  </a:cubicBezTo>
                  <a:cubicBezTo>
                    <a:pt x="79" y="131"/>
                    <a:pt x="77" y="131"/>
                    <a:pt x="76" y="131"/>
                  </a:cubicBezTo>
                  <a:cubicBezTo>
                    <a:pt x="75" y="132"/>
                    <a:pt x="75" y="132"/>
                    <a:pt x="75" y="132"/>
                  </a:cubicBezTo>
                  <a:cubicBezTo>
                    <a:pt x="74" y="132"/>
                    <a:pt x="73" y="131"/>
                    <a:pt x="72" y="130"/>
                  </a:cubicBezTo>
                  <a:cubicBezTo>
                    <a:pt x="71" y="129"/>
                    <a:pt x="71" y="129"/>
                    <a:pt x="71" y="129"/>
                  </a:cubicBezTo>
                  <a:cubicBezTo>
                    <a:pt x="70" y="128"/>
                    <a:pt x="68" y="127"/>
                    <a:pt x="67" y="126"/>
                  </a:cubicBezTo>
                  <a:cubicBezTo>
                    <a:pt x="65" y="124"/>
                    <a:pt x="63" y="123"/>
                    <a:pt x="61" y="121"/>
                  </a:cubicBezTo>
                  <a:cubicBezTo>
                    <a:pt x="59" y="118"/>
                    <a:pt x="57" y="116"/>
                    <a:pt x="56" y="113"/>
                  </a:cubicBezTo>
                  <a:cubicBezTo>
                    <a:pt x="55" y="110"/>
                    <a:pt x="53" y="106"/>
                    <a:pt x="49" y="102"/>
                  </a:cubicBezTo>
                  <a:cubicBezTo>
                    <a:pt x="46" y="100"/>
                    <a:pt x="44" y="99"/>
                    <a:pt x="42" y="98"/>
                  </a:cubicBezTo>
                  <a:cubicBezTo>
                    <a:pt x="41" y="97"/>
                    <a:pt x="41" y="97"/>
                    <a:pt x="41" y="97"/>
                  </a:cubicBezTo>
                  <a:cubicBezTo>
                    <a:pt x="40" y="97"/>
                    <a:pt x="40" y="96"/>
                    <a:pt x="39" y="95"/>
                  </a:cubicBezTo>
                  <a:cubicBezTo>
                    <a:pt x="39" y="94"/>
                    <a:pt x="39" y="94"/>
                    <a:pt x="39" y="94"/>
                  </a:cubicBezTo>
                  <a:cubicBezTo>
                    <a:pt x="37" y="91"/>
                    <a:pt x="35" y="89"/>
                    <a:pt x="34" y="86"/>
                  </a:cubicBezTo>
                  <a:cubicBezTo>
                    <a:pt x="32" y="80"/>
                    <a:pt x="32" y="80"/>
                    <a:pt x="32" y="80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63" y="257"/>
                    <a:pt x="63" y="257"/>
                    <a:pt x="63" y="257"/>
                  </a:cubicBezTo>
                  <a:cubicBezTo>
                    <a:pt x="74" y="287"/>
                    <a:pt x="101" y="288"/>
                    <a:pt x="103" y="288"/>
                  </a:cubicBezTo>
                  <a:cubicBezTo>
                    <a:pt x="115" y="319"/>
                    <a:pt x="115" y="319"/>
                    <a:pt x="115" y="319"/>
                  </a:cubicBezTo>
                  <a:cubicBezTo>
                    <a:pt x="228" y="374"/>
                    <a:pt x="228" y="374"/>
                    <a:pt x="228" y="374"/>
                  </a:cubicBezTo>
                  <a:cubicBezTo>
                    <a:pt x="224" y="384"/>
                    <a:pt x="215" y="434"/>
                    <a:pt x="200" y="526"/>
                  </a:cubicBezTo>
                  <a:cubicBezTo>
                    <a:pt x="199" y="529"/>
                    <a:pt x="199" y="529"/>
                    <a:pt x="199" y="529"/>
                  </a:cubicBezTo>
                  <a:cubicBezTo>
                    <a:pt x="339" y="547"/>
                    <a:pt x="339" y="547"/>
                    <a:pt x="339" y="547"/>
                  </a:cubicBezTo>
                  <a:cubicBezTo>
                    <a:pt x="339" y="545"/>
                    <a:pt x="339" y="545"/>
                    <a:pt x="339" y="545"/>
                  </a:cubicBezTo>
                  <a:cubicBezTo>
                    <a:pt x="340" y="543"/>
                    <a:pt x="340" y="541"/>
                    <a:pt x="341" y="540"/>
                  </a:cubicBezTo>
                  <a:cubicBezTo>
                    <a:pt x="341" y="538"/>
                    <a:pt x="342" y="537"/>
                    <a:pt x="342" y="535"/>
                  </a:cubicBezTo>
                  <a:cubicBezTo>
                    <a:pt x="342" y="535"/>
                    <a:pt x="343" y="534"/>
                    <a:pt x="343" y="534"/>
                  </a:cubicBezTo>
                  <a:cubicBezTo>
                    <a:pt x="343" y="533"/>
                    <a:pt x="343" y="533"/>
                    <a:pt x="343" y="532"/>
                  </a:cubicBezTo>
                  <a:cubicBezTo>
                    <a:pt x="343" y="531"/>
                    <a:pt x="344" y="531"/>
                    <a:pt x="344" y="530"/>
                  </a:cubicBezTo>
                  <a:cubicBezTo>
                    <a:pt x="345" y="529"/>
                    <a:pt x="346" y="528"/>
                    <a:pt x="346" y="526"/>
                  </a:cubicBezTo>
                  <a:cubicBezTo>
                    <a:pt x="347" y="525"/>
                    <a:pt x="348" y="524"/>
                    <a:pt x="348" y="522"/>
                  </a:cubicBezTo>
                  <a:cubicBezTo>
                    <a:pt x="349" y="519"/>
                    <a:pt x="351" y="516"/>
                    <a:pt x="353" y="514"/>
                  </a:cubicBezTo>
                  <a:cubicBezTo>
                    <a:pt x="353" y="514"/>
                    <a:pt x="353" y="513"/>
                    <a:pt x="354" y="513"/>
                  </a:cubicBezTo>
                  <a:cubicBezTo>
                    <a:pt x="354" y="512"/>
                    <a:pt x="355" y="512"/>
                    <a:pt x="356" y="510"/>
                  </a:cubicBezTo>
                  <a:cubicBezTo>
                    <a:pt x="357" y="509"/>
                    <a:pt x="357" y="507"/>
                    <a:pt x="357" y="506"/>
                  </a:cubicBezTo>
                  <a:cubicBezTo>
                    <a:pt x="357" y="506"/>
                    <a:pt x="357" y="505"/>
                    <a:pt x="357" y="505"/>
                  </a:cubicBezTo>
                  <a:cubicBezTo>
                    <a:pt x="357" y="504"/>
                    <a:pt x="357" y="503"/>
                    <a:pt x="357" y="502"/>
                  </a:cubicBezTo>
                  <a:cubicBezTo>
                    <a:pt x="357" y="500"/>
                    <a:pt x="357" y="497"/>
                    <a:pt x="358" y="496"/>
                  </a:cubicBezTo>
                  <a:cubicBezTo>
                    <a:pt x="360" y="494"/>
                    <a:pt x="362" y="492"/>
                    <a:pt x="364" y="490"/>
                  </a:cubicBezTo>
                  <a:cubicBezTo>
                    <a:pt x="366" y="487"/>
                    <a:pt x="366" y="487"/>
                    <a:pt x="366" y="487"/>
                  </a:cubicBezTo>
                  <a:cubicBezTo>
                    <a:pt x="368" y="485"/>
                    <a:pt x="370" y="484"/>
                    <a:pt x="370" y="480"/>
                  </a:cubicBezTo>
                  <a:cubicBezTo>
                    <a:pt x="370" y="479"/>
                    <a:pt x="370" y="478"/>
                    <a:pt x="370" y="477"/>
                  </a:cubicBezTo>
                  <a:cubicBezTo>
                    <a:pt x="370" y="477"/>
                    <a:pt x="370" y="477"/>
                    <a:pt x="370" y="476"/>
                  </a:cubicBezTo>
                  <a:cubicBezTo>
                    <a:pt x="370" y="476"/>
                    <a:pt x="370" y="476"/>
                    <a:pt x="371" y="476"/>
                  </a:cubicBezTo>
                  <a:cubicBezTo>
                    <a:pt x="372" y="476"/>
                    <a:pt x="374" y="475"/>
                    <a:pt x="375" y="473"/>
                  </a:cubicBezTo>
                  <a:cubicBezTo>
                    <a:pt x="376" y="472"/>
                    <a:pt x="376" y="471"/>
                    <a:pt x="376" y="469"/>
                  </a:cubicBezTo>
                  <a:cubicBezTo>
                    <a:pt x="376" y="469"/>
                    <a:pt x="377" y="468"/>
                    <a:pt x="377" y="468"/>
                  </a:cubicBezTo>
                  <a:cubicBezTo>
                    <a:pt x="377" y="468"/>
                    <a:pt x="378" y="467"/>
                    <a:pt x="378" y="467"/>
                  </a:cubicBezTo>
                  <a:cubicBezTo>
                    <a:pt x="379" y="466"/>
                    <a:pt x="380" y="465"/>
                    <a:pt x="381" y="463"/>
                  </a:cubicBezTo>
                  <a:cubicBezTo>
                    <a:pt x="382" y="462"/>
                    <a:pt x="382" y="462"/>
                    <a:pt x="382" y="461"/>
                  </a:cubicBezTo>
                  <a:cubicBezTo>
                    <a:pt x="383" y="460"/>
                    <a:pt x="383" y="459"/>
                    <a:pt x="385" y="457"/>
                  </a:cubicBezTo>
                  <a:cubicBezTo>
                    <a:pt x="385" y="457"/>
                    <a:pt x="385" y="457"/>
                    <a:pt x="386" y="456"/>
                  </a:cubicBezTo>
                  <a:cubicBezTo>
                    <a:pt x="387" y="456"/>
                    <a:pt x="388" y="455"/>
                    <a:pt x="388" y="453"/>
                  </a:cubicBezTo>
                  <a:cubicBezTo>
                    <a:pt x="389" y="454"/>
                    <a:pt x="391" y="454"/>
                    <a:pt x="392" y="454"/>
                  </a:cubicBezTo>
                  <a:cubicBezTo>
                    <a:pt x="394" y="454"/>
                    <a:pt x="396" y="453"/>
                    <a:pt x="396" y="449"/>
                  </a:cubicBezTo>
                  <a:cubicBezTo>
                    <a:pt x="396" y="448"/>
                    <a:pt x="396" y="448"/>
                    <a:pt x="396" y="447"/>
                  </a:cubicBezTo>
                  <a:cubicBezTo>
                    <a:pt x="397" y="447"/>
                    <a:pt x="397" y="447"/>
                    <a:pt x="398" y="447"/>
                  </a:cubicBezTo>
                  <a:cubicBezTo>
                    <a:pt x="398" y="447"/>
                    <a:pt x="399" y="447"/>
                    <a:pt x="399" y="447"/>
                  </a:cubicBezTo>
                  <a:cubicBezTo>
                    <a:pt x="401" y="448"/>
                    <a:pt x="402" y="448"/>
                    <a:pt x="403" y="448"/>
                  </a:cubicBezTo>
                  <a:cubicBezTo>
                    <a:pt x="405" y="448"/>
                    <a:pt x="407" y="447"/>
                    <a:pt x="408" y="446"/>
                  </a:cubicBezTo>
                  <a:cubicBezTo>
                    <a:pt x="409" y="445"/>
                    <a:pt x="409" y="444"/>
                    <a:pt x="410" y="443"/>
                  </a:cubicBezTo>
                  <a:cubicBezTo>
                    <a:pt x="410" y="443"/>
                    <a:pt x="410" y="443"/>
                    <a:pt x="410" y="443"/>
                  </a:cubicBezTo>
                  <a:cubicBezTo>
                    <a:pt x="411" y="442"/>
                    <a:pt x="411" y="442"/>
                    <a:pt x="412" y="442"/>
                  </a:cubicBezTo>
                  <a:cubicBezTo>
                    <a:pt x="413" y="441"/>
                    <a:pt x="413" y="441"/>
                    <a:pt x="413" y="441"/>
                  </a:cubicBezTo>
                  <a:cubicBezTo>
                    <a:pt x="415" y="440"/>
                    <a:pt x="418" y="438"/>
                    <a:pt x="418" y="434"/>
                  </a:cubicBezTo>
                  <a:cubicBezTo>
                    <a:pt x="419" y="431"/>
                    <a:pt x="419" y="428"/>
                    <a:pt x="418" y="426"/>
                  </a:cubicBezTo>
                  <a:cubicBezTo>
                    <a:pt x="417" y="423"/>
                    <a:pt x="416" y="420"/>
                    <a:pt x="414" y="418"/>
                  </a:cubicBezTo>
                  <a:cubicBezTo>
                    <a:pt x="414" y="418"/>
                    <a:pt x="414" y="418"/>
                    <a:pt x="415" y="418"/>
                  </a:cubicBezTo>
                  <a:cubicBezTo>
                    <a:pt x="415" y="418"/>
                    <a:pt x="415" y="418"/>
                    <a:pt x="415" y="418"/>
                  </a:cubicBezTo>
                  <a:cubicBezTo>
                    <a:pt x="419" y="418"/>
                    <a:pt x="424" y="416"/>
                    <a:pt x="427" y="413"/>
                  </a:cubicBezTo>
                  <a:cubicBezTo>
                    <a:pt x="428" y="411"/>
                    <a:pt x="429" y="408"/>
                    <a:pt x="430" y="405"/>
                  </a:cubicBezTo>
                  <a:cubicBezTo>
                    <a:pt x="431" y="399"/>
                    <a:pt x="432" y="397"/>
                    <a:pt x="434" y="397"/>
                  </a:cubicBezTo>
                  <a:cubicBezTo>
                    <a:pt x="435" y="397"/>
                    <a:pt x="435" y="397"/>
                    <a:pt x="435" y="397"/>
                  </a:cubicBezTo>
                  <a:cubicBezTo>
                    <a:pt x="437" y="397"/>
                    <a:pt x="438" y="398"/>
                    <a:pt x="441" y="399"/>
                  </a:cubicBezTo>
                  <a:cubicBezTo>
                    <a:pt x="443" y="400"/>
                    <a:pt x="446" y="401"/>
                    <a:pt x="449" y="401"/>
                  </a:cubicBezTo>
                  <a:cubicBezTo>
                    <a:pt x="451" y="401"/>
                    <a:pt x="452" y="401"/>
                    <a:pt x="453" y="400"/>
                  </a:cubicBezTo>
                  <a:cubicBezTo>
                    <a:pt x="461" y="398"/>
                    <a:pt x="464" y="391"/>
                    <a:pt x="466" y="385"/>
                  </a:cubicBezTo>
                  <a:cubicBezTo>
                    <a:pt x="468" y="380"/>
                    <a:pt x="471" y="375"/>
                    <a:pt x="474" y="370"/>
                  </a:cubicBezTo>
                  <a:cubicBezTo>
                    <a:pt x="474" y="369"/>
                    <a:pt x="474" y="369"/>
                    <a:pt x="474" y="369"/>
                  </a:cubicBezTo>
                  <a:cubicBezTo>
                    <a:pt x="476" y="367"/>
                    <a:pt x="478" y="364"/>
                    <a:pt x="479" y="360"/>
                  </a:cubicBezTo>
                  <a:cubicBezTo>
                    <a:pt x="479" y="359"/>
                    <a:pt x="480" y="358"/>
                    <a:pt x="480" y="357"/>
                  </a:cubicBezTo>
                  <a:cubicBezTo>
                    <a:pt x="480" y="356"/>
                    <a:pt x="480" y="356"/>
                    <a:pt x="480" y="355"/>
                  </a:cubicBezTo>
                  <a:cubicBezTo>
                    <a:pt x="480" y="355"/>
                    <a:pt x="480" y="355"/>
                    <a:pt x="480" y="355"/>
                  </a:cubicBezTo>
                  <a:cubicBezTo>
                    <a:pt x="480" y="353"/>
                    <a:pt x="481" y="351"/>
                    <a:pt x="479" y="349"/>
                  </a:cubicBezTo>
                  <a:cubicBezTo>
                    <a:pt x="478" y="348"/>
                    <a:pt x="478" y="347"/>
                    <a:pt x="477" y="347"/>
                  </a:cubicBezTo>
                  <a:cubicBezTo>
                    <a:pt x="478" y="346"/>
                    <a:pt x="478" y="345"/>
                    <a:pt x="479" y="343"/>
                  </a:cubicBezTo>
                  <a:cubicBezTo>
                    <a:pt x="479" y="343"/>
                    <a:pt x="479" y="342"/>
                    <a:pt x="479" y="342"/>
                  </a:cubicBezTo>
                  <a:cubicBezTo>
                    <a:pt x="479" y="341"/>
                    <a:pt x="479" y="341"/>
                    <a:pt x="480" y="340"/>
                  </a:cubicBezTo>
                  <a:cubicBezTo>
                    <a:pt x="482" y="339"/>
                    <a:pt x="484" y="337"/>
                    <a:pt x="486" y="335"/>
                  </a:cubicBezTo>
                  <a:cubicBezTo>
                    <a:pt x="487" y="333"/>
                    <a:pt x="488" y="331"/>
                    <a:pt x="488" y="328"/>
                  </a:cubicBezTo>
                  <a:cubicBezTo>
                    <a:pt x="488" y="327"/>
                    <a:pt x="488" y="326"/>
                    <a:pt x="489" y="325"/>
                  </a:cubicBezTo>
                  <a:cubicBezTo>
                    <a:pt x="489" y="324"/>
                    <a:pt x="490" y="324"/>
                    <a:pt x="491" y="323"/>
                  </a:cubicBezTo>
                  <a:cubicBezTo>
                    <a:pt x="493" y="322"/>
                    <a:pt x="495" y="320"/>
                    <a:pt x="496" y="316"/>
                  </a:cubicBezTo>
                  <a:cubicBezTo>
                    <a:pt x="496" y="313"/>
                    <a:pt x="495" y="310"/>
                    <a:pt x="492" y="309"/>
                  </a:cubicBezTo>
                  <a:cubicBezTo>
                    <a:pt x="491" y="308"/>
                    <a:pt x="490" y="308"/>
                    <a:pt x="489" y="308"/>
                  </a:cubicBezTo>
                  <a:cubicBezTo>
                    <a:pt x="488" y="308"/>
                    <a:pt x="488" y="308"/>
                    <a:pt x="487" y="307"/>
                  </a:cubicBezTo>
                  <a:cubicBezTo>
                    <a:pt x="486" y="307"/>
                    <a:pt x="485" y="306"/>
                    <a:pt x="484" y="305"/>
                  </a:cubicBezTo>
                  <a:cubicBezTo>
                    <a:pt x="482" y="303"/>
                    <a:pt x="482" y="302"/>
                    <a:pt x="482" y="302"/>
                  </a:cubicBezTo>
                  <a:cubicBezTo>
                    <a:pt x="483" y="302"/>
                    <a:pt x="485" y="302"/>
                    <a:pt x="486" y="302"/>
                  </a:cubicBezTo>
                  <a:cubicBezTo>
                    <a:pt x="487" y="302"/>
                    <a:pt x="487" y="302"/>
                    <a:pt x="487" y="302"/>
                  </a:cubicBezTo>
                  <a:cubicBezTo>
                    <a:pt x="488" y="302"/>
                    <a:pt x="489" y="302"/>
                    <a:pt x="490" y="302"/>
                  </a:cubicBezTo>
                  <a:cubicBezTo>
                    <a:pt x="491" y="302"/>
                    <a:pt x="492" y="301"/>
                    <a:pt x="493" y="301"/>
                  </a:cubicBezTo>
                  <a:cubicBezTo>
                    <a:pt x="495" y="301"/>
                    <a:pt x="496" y="300"/>
                    <a:pt x="498" y="300"/>
                  </a:cubicBezTo>
                  <a:cubicBezTo>
                    <a:pt x="499" y="305"/>
                    <a:pt x="502" y="312"/>
                    <a:pt x="509" y="313"/>
                  </a:cubicBezTo>
                  <a:cubicBezTo>
                    <a:pt x="510" y="313"/>
                    <a:pt x="510" y="313"/>
                    <a:pt x="510" y="313"/>
                  </a:cubicBezTo>
                  <a:cubicBezTo>
                    <a:pt x="510" y="313"/>
                    <a:pt x="511" y="313"/>
                    <a:pt x="511" y="313"/>
                  </a:cubicBezTo>
                  <a:cubicBezTo>
                    <a:pt x="513" y="313"/>
                    <a:pt x="514" y="313"/>
                    <a:pt x="516" y="311"/>
                  </a:cubicBezTo>
                  <a:cubicBezTo>
                    <a:pt x="517" y="310"/>
                    <a:pt x="517" y="309"/>
                    <a:pt x="517" y="308"/>
                  </a:cubicBezTo>
                  <a:cubicBezTo>
                    <a:pt x="517" y="308"/>
                    <a:pt x="517" y="308"/>
                    <a:pt x="517" y="308"/>
                  </a:cubicBezTo>
                  <a:cubicBezTo>
                    <a:pt x="518" y="308"/>
                    <a:pt x="519" y="309"/>
                    <a:pt x="520" y="309"/>
                  </a:cubicBezTo>
                  <a:cubicBezTo>
                    <a:pt x="521" y="309"/>
                    <a:pt x="521" y="309"/>
                    <a:pt x="522" y="309"/>
                  </a:cubicBezTo>
                  <a:cubicBezTo>
                    <a:pt x="523" y="308"/>
                    <a:pt x="525" y="307"/>
                    <a:pt x="526" y="305"/>
                  </a:cubicBezTo>
                  <a:cubicBezTo>
                    <a:pt x="526" y="304"/>
                    <a:pt x="526" y="304"/>
                    <a:pt x="526" y="303"/>
                  </a:cubicBezTo>
                  <a:cubicBezTo>
                    <a:pt x="527" y="304"/>
                    <a:pt x="528" y="304"/>
                    <a:pt x="528" y="304"/>
                  </a:cubicBezTo>
                  <a:cubicBezTo>
                    <a:pt x="529" y="305"/>
                    <a:pt x="530" y="305"/>
                    <a:pt x="531" y="305"/>
                  </a:cubicBezTo>
                  <a:cubicBezTo>
                    <a:pt x="535" y="305"/>
                    <a:pt x="537" y="301"/>
                    <a:pt x="538" y="299"/>
                  </a:cubicBezTo>
                  <a:cubicBezTo>
                    <a:pt x="539" y="298"/>
                    <a:pt x="539" y="297"/>
                    <a:pt x="540" y="297"/>
                  </a:cubicBezTo>
                  <a:cubicBezTo>
                    <a:pt x="541" y="296"/>
                    <a:pt x="541" y="295"/>
                    <a:pt x="542" y="294"/>
                  </a:cubicBezTo>
                  <a:cubicBezTo>
                    <a:pt x="542" y="293"/>
                    <a:pt x="543" y="293"/>
                    <a:pt x="543" y="292"/>
                  </a:cubicBezTo>
                  <a:cubicBezTo>
                    <a:pt x="544" y="292"/>
                    <a:pt x="545" y="291"/>
                    <a:pt x="545" y="291"/>
                  </a:cubicBezTo>
                  <a:cubicBezTo>
                    <a:pt x="547" y="290"/>
                    <a:pt x="549" y="289"/>
                    <a:pt x="550" y="286"/>
                  </a:cubicBezTo>
                  <a:cubicBezTo>
                    <a:pt x="551" y="285"/>
                    <a:pt x="551" y="284"/>
                    <a:pt x="552" y="283"/>
                  </a:cubicBezTo>
                  <a:cubicBezTo>
                    <a:pt x="552" y="281"/>
                    <a:pt x="552" y="280"/>
                    <a:pt x="553" y="280"/>
                  </a:cubicBezTo>
                  <a:cubicBezTo>
                    <a:pt x="553" y="279"/>
                    <a:pt x="554" y="279"/>
                    <a:pt x="555" y="278"/>
                  </a:cubicBezTo>
                  <a:cubicBezTo>
                    <a:pt x="556" y="278"/>
                    <a:pt x="558" y="277"/>
                    <a:pt x="559" y="276"/>
                  </a:cubicBezTo>
                  <a:cubicBezTo>
                    <a:pt x="562" y="272"/>
                    <a:pt x="562" y="268"/>
                    <a:pt x="561" y="264"/>
                  </a:cubicBezTo>
                  <a:cubicBezTo>
                    <a:pt x="561" y="263"/>
                    <a:pt x="561" y="262"/>
                    <a:pt x="561" y="261"/>
                  </a:cubicBezTo>
                  <a:cubicBezTo>
                    <a:pt x="561" y="261"/>
                    <a:pt x="561" y="260"/>
                    <a:pt x="561" y="260"/>
                  </a:cubicBezTo>
                  <a:cubicBezTo>
                    <a:pt x="562" y="259"/>
                    <a:pt x="562" y="257"/>
                    <a:pt x="561" y="255"/>
                  </a:cubicBezTo>
                  <a:cubicBezTo>
                    <a:pt x="560" y="253"/>
                    <a:pt x="558" y="251"/>
                    <a:pt x="556" y="248"/>
                  </a:cubicBezTo>
                  <a:cubicBezTo>
                    <a:pt x="555" y="247"/>
                    <a:pt x="554" y="246"/>
                    <a:pt x="552" y="244"/>
                  </a:cubicBezTo>
                  <a:cubicBezTo>
                    <a:pt x="551" y="242"/>
                    <a:pt x="550" y="241"/>
                    <a:pt x="549" y="239"/>
                  </a:cubicBezTo>
                  <a:cubicBezTo>
                    <a:pt x="548" y="238"/>
                    <a:pt x="547" y="237"/>
                    <a:pt x="547" y="235"/>
                  </a:cubicBezTo>
                  <a:cubicBezTo>
                    <a:pt x="547" y="234"/>
                    <a:pt x="546" y="232"/>
                    <a:pt x="545" y="231"/>
                  </a:cubicBezTo>
                  <a:cubicBezTo>
                    <a:pt x="545" y="230"/>
                    <a:pt x="544" y="229"/>
                    <a:pt x="543" y="228"/>
                  </a:cubicBezTo>
                  <a:cubicBezTo>
                    <a:pt x="542" y="227"/>
                    <a:pt x="540" y="224"/>
                    <a:pt x="540" y="223"/>
                  </a:cubicBezTo>
                  <a:cubicBezTo>
                    <a:pt x="540" y="223"/>
                    <a:pt x="540" y="223"/>
                    <a:pt x="540" y="223"/>
                  </a:cubicBezTo>
                  <a:cubicBezTo>
                    <a:pt x="540" y="223"/>
                    <a:pt x="541" y="223"/>
                    <a:pt x="541" y="223"/>
                  </a:cubicBezTo>
                  <a:cubicBezTo>
                    <a:pt x="542" y="223"/>
                    <a:pt x="543" y="223"/>
                    <a:pt x="544" y="223"/>
                  </a:cubicBezTo>
                  <a:cubicBezTo>
                    <a:pt x="546" y="223"/>
                    <a:pt x="547" y="222"/>
                    <a:pt x="549" y="221"/>
                  </a:cubicBezTo>
                  <a:cubicBezTo>
                    <a:pt x="550" y="220"/>
                    <a:pt x="551" y="218"/>
                    <a:pt x="553" y="217"/>
                  </a:cubicBezTo>
                  <a:cubicBezTo>
                    <a:pt x="555" y="214"/>
                    <a:pt x="556" y="212"/>
                    <a:pt x="556" y="209"/>
                  </a:cubicBezTo>
                  <a:cubicBezTo>
                    <a:pt x="556" y="203"/>
                    <a:pt x="552" y="203"/>
                    <a:pt x="550" y="203"/>
                  </a:cubicBezTo>
                  <a:cubicBezTo>
                    <a:pt x="549" y="203"/>
                    <a:pt x="549" y="203"/>
                    <a:pt x="548" y="202"/>
                  </a:cubicBezTo>
                  <a:cubicBezTo>
                    <a:pt x="548" y="202"/>
                    <a:pt x="548" y="202"/>
                    <a:pt x="548" y="202"/>
                  </a:cubicBezTo>
                  <a:cubicBezTo>
                    <a:pt x="549" y="200"/>
                    <a:pt x="552" y="197"/>
                    <a:pt x="551" y="193"/>
                  </a:cubicBezTo>
                  <a:cubicBezTo>
                    <a:pt x="551" y="192"/>
                    <a:pt x="550" y="190"/>
                    <a:pt x="548" y="189"/>
                  </a:cubicBezTo>
                  <a:cubicBezTo>
                    <a:pt x="546" y="188"/>
                    <a:pt x="544" y="187"/>
                    <a:pt x="542" y="187"/>
                  </a:cubicBezTo>
                  <a:cubicBezTo>
                    <a:pt x="540" y="187"/>
                    <a:pt x="539" y="186"/>
                    <a:pt x="538" y="185"/>
                  </a:cubicBezTo>
                  <a:cubicBezTo>
                    <a:pt x="537" y="185"/>
                    <a:pt x="536" y="184"/>
                    <a:pt x="536" y="184"/>
                  </a:cubicBezTo>
                  <a:cubicBezTo>
                    <a:pt x="535" y="183"/>
                    <a:pt x="534" y="181"/>
                    <a:pt x="533" y="180"/>
                  </a:cubicBezTo>
                  <a:cubicBezTo>
                    <a:pt x="532" y="180"/>
                    <a:pt x="532" y="180"/>
                    <a:pt x="532" y="180"/>
                  </a:cubicBezTo>
                  <a:cubicBezTo>
                    <a:pt x="532" y="180"/>
                    <a:pt x="532" y="179"/>
                    <a:pt x="532" y="179"/>
                  </a:cubicBezTo>
                  <a:cubicBezTo>
                    <a:pt x="533" y="176"/>
                    <a:pt x="533" y="174"/>
                    <a:pt x="532" y="173"/>
                  </a:cubicBezTo>
                  <a:cubicBezTo>
                    <a:pt x="531" y="172"/>
                    <a:pt x="530" y="170"/>
                    <a:pt x="526" y="170"/>
                  </a:cubicBezTo>
                  <a:cubicBezTo>
                    <a:pt x="523" y="170"/>
                    <a:pt x="520" y="171"/>
                    <a:pt x="519" y="172"/>
                  </a:cubicBezTo>
                  <a:cubicBezTo>
                    <a:pt x="518" y="173"/>
                    <a:pt x="517" y="173"/>
                    <a:pt x="516" y="173"/>
                  </a:cubicBezTo>
                  <a:cubicBezTo>
                    <a:pt x="515" y="173"/>
                    <a:pt x="515" y="173"/>
                    <a:pt x="514" y="173"/>
                  </a:cubicBezTo>
                  <a:cubicBezTo>
                    <a:pt x="513" y="172"/>
                    <a:pt x="513" y="172"/>
                    <a:pt x="512" y="171"/>
                  </a:cubicBezTo>
                  <a:cubicBezTo>
                    <a:pt x="511" y="170"/>
                    <a:pt x="510" y="169"/>
                    <a:pt x="508" y="168"/>
                  </a:cubicBezTo>
                  <a:cubicBezTo>
                    <a:pt x="508" y="168"/>
                    <a:pt x="508" y="168"/>
                    <a:pt x="507" y="168"/>
                  </a:cubicBezTo>
                  <a:cubicBezTo>
                    <a:pt x="509" y="168"/>
                    <a:pt x="510" y="168"/>
                    <a:pt x="511" y="168"/>
                  </a:cubicBezTo>
                  <a:cubicBezTo>
                    <a:pt x="513" y="168"/>
                    <a:pt x="516" y="168"/>
                    <a:pt x="518" y="167"/>
                  </a:cubicBezTo>
                  <a:cubicBezTo>
                    <a:pt x="519" y="167"/>
                    <a:pt x="520" y="167"/>
                    <a:pt x="520" y="167"/>
                  </a:cubicBezTo>
                  <a:cubicBezTo>
                    <a:pt x="521" y="167"/>
                    <a:pt x="522" y="167"/>
                    <a:pt x="524" y="168"/>
                  </a:cubicBezTo>
                  <a:cubicBezTo>
                    <a:pt x="525" y="168"/>
                    <a:pt x="526" y="169"/>
                    <a:pt x="526" y="169"/>
                  </a:cubicBezTo>
                  <a:cubicBezTo>
                    <a:pt x="528" y="170"/>
                    <a:pt x="530" y="170"/>
                    <a:pt x="531" y="170"/>
                  </a:cubicBezTo>
                  <a:cubicBezTo>
                    <a:pt x="535" y="170"/>
                    <a:pt x="538" y="168"/>
                    <a:pt x="540" y="165"/>
                  </a:cubicBezTo>
                  <a:cubicBezTo>
                    <a:pt x="543" y="162"/>
                    <a:pt x="547" y="160"/>
                    <a:pt x="551" y="160"/>
                  </a:cubicBezTo>
                  <a:cubicBezTo>
                    <a:pt x="552" y="160"/>
                    <a:pt x="554" y="161"/>
                    <a:pt x="555" y="161"/>
                  </a:cubicBezTo>
                  <a:cubicBezTo>
                    <a:pt x="557" y="161"/>
                    <a:pt x="558" y="162"/>
                    <a:pt x="560" y="162"/>
                  </a:cubicBezTo>
                  <a:cubicBezTo>
                    <a:pt x="563" y="163"/>
                    <a:pt x="567" y="165"/>
                    <a:pt x="571" y="165"/>
                  </a:cubicBezTo>
                  <a:cubicBezTo>
                    <a:pt x="573" y="165"/>
                    <a:pt x="575" y="164"/>
                    <a:pt x="577" y="164"/>
                  </a:cubicBezTo>
                  <a:cubicBezTo>
                    <a:pt x="581" y="162"/>
                    <a:pt x="582" y="159"/>
                    <a:pt x="582" y="157"/>
                  </a:cubicBezTo>
                  <a:cubicBezTo>
                    <a:pt x="583" y="152"/>
                    <a:pt x="579" y="147"/>
                    <a:pt x="578" y="146"/>
                  </a:cubicBezTo>
                  <a:cubicBezTo>
                    <a:pt x="579" y="146"/>
                    <a:pt x="579" y="147"/>
                    <a:pt x="580" y="147"/>
                  </a:cubicBezTo>
                  <a:cubicBezTo>
                    <a:pt x="582" y="147"/>
                    <a:pt x="583" y="148"/>
                    <a:pt x="585" y="148"/>
                  </a:cubicBezTo>
                  <a:cubicBezTo>
                    <a:pt x="585" y="148"/>
                    <a:pt x="586" y="148"/>
                    <a:pt x="586" y="148"/>
                  </a:cubicBezTo>
                  <a:cubicBezTo>
                    <a:pt x="587" y="147"/>
                    <a:pt x="587" y="147"/>
                    <a:pt x="588" y="147"/>
                  </a:cubicBezTo>
                  <a:cubicBezTo>
                    <a:pt x="588" y="147"/>
                    <a:pt x="589" y="148"/>
                    <a:pt x="589" y="148"/>
                  </a:cubicBezTo>
                  <a:cubicBezTo>
                    <a:pt x="589" y="148"/>
                    <a:pt x="589" y="148"/>
                    <a:pt x="589" y="148"/>
                  </a:cubicBezTo>
                  <a:cubicBezTo>
                    <a:pt x="589" y="148"/>
                    <a:pt x="589" y="148"/>
                    <a:pt x="589" y="150"/>
                  </a:cubicBezTo>
                  <a:cubicBezTo>
                    <a:pt x="589" y="150"/>
                    <a:pt x="589" y="151"/>
                    <a:pt x="589" y="151"/>
                  </a:cubicBezTo>
                  <a:cubicBezTo>
                    <a:pt x="589" y="153"/>
                    <a:pt x="588" y="157"/>
                    <a:pt x="591" y="160"/>
                  </a:cubicBezTo>
                  <a:cubicBezTo>
                    <a:pt x="592" y="160"/>
                    <a:pt x="594" y="161"/>
                    <a:pt x="595" y="161"/>
                  </a:cubicBezTo>
                  <a:cubicBezTo>
                    <a:pt x="596" y="161"/>
                    <a:pt x="597" y="161"/>
                    <a:pt x="598" y="160"/>
                  </a:cubicBezTo>
                  <a:cubicBezTo>
                    <a:pt x="599" y="160"/>
                    <a:pt x="599" y="160"/>
                    <a:pt x="600" y="160"/>
                  </a:cubicBezTo>
                  <a:cubicBezTo>
                    <a:pt x="600" y="160"/>
                    <a:pt x="600" y="160"/>
                    <a:pt x="600" y="160"/>
                  </a:cubicBezTo>
                  <a:cubicBezTo>
                    <a:pt x="600" y="160"/>
                    <a:pt x="600" y="160"/>
                    <a:pt x="600" y="160"/>
                  </a:cubicBezTo>
                  <a:cubicBezTo>
                    <a:pt x="600" y="160"/>
                    <a:pt x="600" y="160"/>
                    <a:pt x="600" y="160"/>
                  </a:cubicBezTo>
                  <a:cubicBezTo>
                    <a:pt x="600" y="160"/>
                    <a:pt x="601" y="161"/>
                    <a:pt x="601" y="162"/>
                  </a:cubicBezTo>
                  <a:cubicBezTo>
                    <a:pt x="601" y="163"/>
                    <a:pt x="601" y="163"/>
                    <a:pt x="601" y="163"/>
                  </a:cubicBezTo>
                  <a:cubicBezTo>
                    <a:pt x="601" y="167"/>
                    <a:pt x="603" y="168"/>
                    <a:pt x="606" y="168"/>
                  </a:cubicBezTo>
                  <a:cubicBezTo>
                    <a:pt x="606" y="168"/>
                    <a:pt x="607" y="169"/>
                    <a:pt x="607" y="169"/>
                  </a:cubicBezTo>
                  <a:cubicBezTo>
                    <a:pt x="608" y="169"/>
                    <a:pt x="608" y="170"/>
                    <a:pt x="609" y="170"/>
                  </a:cubicBezTo>
                  <a:cubicBezTo>
                    <a:pt x="610" y="171"/>
                    <a:pt x="611" y="173"/>
                    <a:pt x="613" y="174"/>
                  </a:cubicBezTo>
                  <a:cubicBezTo>
                    <a:pt x="615" y="174"/>
                    <a:pt x="617" y="174"/>
                    <a:pt x="618" y="174"/>
                  </a:cubicBezTo>
                  <a:cubicBezTo>
                    <a:pt x="620" y="174"/>
                    <a:pt x="621" y="174"/>
                    <a:pt x="622" y="175"/>
                  </a:cubicBezTo>
                  <a:cubicBezTo>
                    <a:pt x="623" y="177"/>
                    <a:pt x="623" y="178"/>
                    <a:pt x="623" y="179"/>
                  </a:cubicBezTo>
                  <a:cubicBezTo>
                    <a:pt x="623" y="179"/>
                    <a:pt x="622" y="180"/>
                    <a:pt x="622" y="181"/>
                  </a:cubicBezTo>
                  <a:cubicBezTo>
                    <a:pt x="621" y="181"/>
                    <a:pt x="620" y="181"/>
                    <a:pt x="619" y="182"/>
                  </a:cubicBezTo>
                  <a:cubicBezTo>
                    <a:pt x="617" y="182"/>
                    <a:pt x="614" y="183"/>
                    <a:pt x="612" y="187"/>
                  </a:cubicBezTo>
                  <a:cubicBezTo>
                    <a:pt x="611" y="190"/>
                    <a:pt x="611" y="197"/>
                    <a:pt x="613" y="200"/>
                  </a:cubicBezTo>
                  <a:cubicBezTo>
                    <a:pt x="614" y="202"/>
                    <a:pt x="616" y="203"/>
                    <a:pt x="618" y="203"/>
                  </a:cubicBezTo>
                  <a:cubicBezTo>
                    <a:pt x="619" y="203"/>
                    <a:pt x="621" y="203"/>
                    <a:pt x="622" y="202"/>
                  </a:cubicBezTo>
                  <a:cubicBezTo>
                    <a:pt x="626" y="199"/>
                    <a:pt x="628" y="195"/>
                    <a:pt x="630" y="192"/>
                  </a:cubicBezTo>
                  <a:cubicBezTo>
                    <a:pt x="631" y="189"/>
                    <a:pt x="633" y="187"/>
                    <a:pt x="635" y="185"/>
                  </a:cubicBezTo>
                  <a:cubicBezTo>
                    <a:pt x="636" y="185"/>
                    <a:pt x="638" y="184"/>
                    <a:pt x="638" y="184"/>
                  </a:cubicBezTo>
                  <a:cubicBezTo>
                    <a:pt x="638" y="184"/>
                    <a:pt x="638" y="185"/>
                    <a:pt x="638" y="185"/>
                  </a:cubicBezTo>
                  <a:cubicBezTo>
                    <a:pt x="638" y="187"/>
                    <a:pt x="638" y="188"/>
                    <a:pt x="638" y="189"/>
                  </a:cubicBezTo>
                  <a:cubicBezTo>
                    <a:pt x="638" y="192"/>
                    <a:pt x="639" y="194"/>
                    <a:pt x="641" y="197"/>
                  </a:cubicBezTo>
                  <a:cubicBezTo>
                    <a:pt x="643" y="198"/>
                    <a:pt x="646" y="201"/>
                    <a:pt x="649" y="201"/>
                  </a:cubicBezTo>
                  <a:cubicBezTo>
                    <a:pt x="650" y="201"/>
                    <a:pt x="650" y="201"/>
                    <a:pt x="650" y="201"/>
                  </a:cubicBezTo>
                  <a:cubicBezTo>
                    <a:pt x="650" y="201"/>
                    <a:pt x="650" y="201"/>
                    <a:pt x="650" y="201"/>
                  </a:cubicBezTo>
                  <a:cubicBezTo>
                    <a:pt x="652" y="201"/>
                    <a:pt x="652" y="200"/>
                    <a:pt x="653" y="200"/>
                  </a:cubicBezTo>
                  <a:cubicBezTo>
                    <a:pt x="653" y="205"/>
                    <a:pt x="656" y="207"/>
                    <a:pt x="657" y="207"/>
                  </a:cubicBezTo>
                  <a:cubicBezTo>
                    <a:pt x="658" y="208"/>
                    <a:pt x="659" y="208"/>
                    <a:pt x="660" y="208"/>
                  </a:cubicBezTo>
                  <a:cubicBezTo>
                    <a:pt x="661" y="208"/>
                    <a:pt x="662" y="208"/>
                    <a:pt x="663" y="207"/>
                  </a:cubicBezTo>
                  <a:cubicBezTo>
                    <a:pt x="664" y="207"/>
                    <a:pt x="664" y="207"/>
                    <a:pt x="665" y="207"/>
                  </a:cubicBezTo>
                  <a:cubicBezTo>
                    <a:pt x="665" y="207"/>
                    <a:pt x="665" y="207"/>
                    <a:pt x="665" y="207"/>
                  </a:cubicBezTo>
                  <a:cubicBezTo>
                    <a:pt x="667" y="208"/>
                    <a:pt x="669" y="212"/>
                    <a:pt x="671" y="215"/>
                  </a:cubicBezTo>
                  <a:cubicBezTo>
                    <a:pt x="672" y="217"/>
                    <a:pt x="673" y="219"/>
                    <a:pt x="675" y="221"/>
                  </a:cubicBezTo>
                  <a:cubicBezTo>
                    <a:pt x="677" y="223"/>
                    <a:pt x="677" y="223"/>
                    <a:pt x="677" y="223"/>
                  </a:cubicBezTo>
                  <a:cubicBezTo>
                    <a:pt x="679" y="226"/>
                    <a:pt x="682" y="229"/>
                    <a:pt x="684" y="233"/>
                  </a:cubicBezTo>
                  <a:cubicBezTo>
                    <a:pt x="685" y="236"/>
                    <a:pt x="687" y="241"/>
                    <a:pt x="686" y="244"/>
                  </a:cubicBezTo>
                  <a:cubicBezTo>
                    <a:pt x="686" y="245"/>
                    <a:pt x="685" y="246"/>
                    <a:pt x="684" y="248"/>
                  </a:cubicBezTo>
                  <a:cubicBezTo>
                    <a:pt x="682" y="250"/>
                    <a:pt x="680" y="252"/>
                    <a:pt x="680" y="256"/>
                  </a:cubicBezTo>
                  <a:cubicBezTo>
                    <a:pt x="680" y="258"/>
                    <a:pt x="680" y="260"/>
                    <a:pt x="682" y="262"/>
                  </a:cubicBezTo>
                  <a:cubicBezTo>
                    <a:pt x="680" y="262"/>
                    <a:pt x="678" y="263"/>
                    <a:pt x="677" y="265"/>
                  </a:cubicBezTo>
                  <a:cubicBezTo>
                    <a:pt x="676" y="266"/>
                    <a:pt x="675" y="268"/>
                    <a:pt x="675" y="269"/>
                  </a:cubicBezTo>
                  <a:cubicBezTo>
                    <a:pt x="675" y="270"/>
                    <a:pt x="674" y="271"/>
                    <a:pt x="674" y="271"/>
                  </a:cubicBezTo>
                  <a:cubicBezTo>
                    <a:pt x="673" y="273"/>
                    <a:pt x="672" y="275"/>
                    <a:pt x="671" y="277"/>
                  </a:cubicBezTo>
                  <a:cubicBezTo>
                    <a:pt x="669" y="281"/>
                    <a:pt x="666" y="285"/>
                    <a:pt x="667" y="290"/>
                  </a:cubicBezTo>
                  <a:cubicBezTo>
                    <a:pt x="669" y="296"/>
                    <a:pt x="674" y="298"/>
                    <a:pt x="678" y="300"/>
                  </a:cubicBezTo>
                  <a:cubicBezTo>
                    <a:pt x="681" y="302"/>
                    <a:pt x="684" y="303"/>
                    <a:pt x="686" y="305"/>
                  </a:cubicBezTo>
                  <a:cubicBezTo>
                    <a:pt x="686" y="306"/>
                    <a:pt x="686" y="306"/>
                    <a:pt x="686" y="307"/>
                  </a:cubicBezTo>
                  <a:cubicBezTo>
                    <a:pt x="686" y="307"/>
                    <a:pt x="684" y="308"/>
                    <a:pt x="681" y="309"/>
                  </a:cubicBezTo>
                  <a:cubicBezTo>
                    <a:pt x="680" y="309"/>
                    <a:pt x="680" y="309"/>
                    <a:pt x="679" y="309"/>
                  </a:cubicBezTo>
                  <a:cubicBezTo>
                    <a:pt x="678" y="310"/>
                    <a:pt x="676" y="310"/>
                    <a:pt x="675" y="310"/>
                  </a:cubicBezTo>
                  <a:cubicBezTo>
                    <a:pt x="672" y="312"/>
                    <a:pt x="671" y="314"/>
                    <a:pt x="669" y="315"/>
                  </a:cubicBezTo>
                  <a:cubicBezTo>
                    <a:pt x="669" y="316"/>
                    <a:pt x="668" y="317"/>
                    <a:pt x="668" y="317"/>
                  </a:cubicBezTo>
                  <a:cubicBezTo>
                    <a:pt x="667" y="318"/>
                    <a:pt x="666" y="319"/>
                    <a:pt x="665" y="320"/>
                  </a:cubicBezTo>
                  <a:cubicBezTo>
                    <a:pt x="664" y="321"/>
                    <a:pt x="664" y="321"/>
                    <a:pt x="664" y="321"/>
                  </a:cubicBezTo>
                  <a:cubicBezTo>
                    <a:pt x="662" y="322"/>
                    <a:pt x="659" y="323"/>
                    <a:pt x="655" y="323"/>
                  </a:cubicBezTo>
                  <a:cubicBezTo>
                    <a:pt x="655" y="323"/>
                    <a:pt x="655" y="323"/>
                    <a:pt x="655" y="323"/>
                  </a:cubicBezTo>
                  <a:cubicBezTo>
                    <a:pt x="652" y="323"/>
                    <a:pt x="649" y="322"/>
                    <a:pt x="645" y="322"/>
                  </a:cubicBezTo>
                  <a:cubicBezTo>
                    <a:pt x="642" y="321"/>
                    <a:pt x="638" y="321"/>
                    <a:pt x="634" y="321"/>
                  </a:cubicBezTo>
                  <a:cubicBezTo>
                    <a:pt x="632" y="321"/>
                    <a:pt x="630" y="321"/>
                    <a:pt x="628" y="321"/>
                  </a:cubicBezTo>
                  <a:cubicBezTo>
                    <a:pt x="626" y="322"/>
                    <a:pt x="626" y="322"/>
                    <a:pt x="626" y="322"/>
                  </a:cubicBezTo>
                  <a:cubicBezTo>
                    <a:pt x="626" y="324"/>
                    <a:pt x="626" y="324"/>
                    <a:pt x="626" y="324"/>
                  </a:cubicBezTo>
                  <a:cubicBezTo>
                    <a:pt x="625" y="325"/>
                    <a:pt x="625" y="325"/>
                    <a:pt x="625" y="325"/>
                  </a:cubicBezTo>
                  <a:cubicBezTo>
                    <a:pt x="625" y="326"/>
                    <a:pt x="625" y="328"/>
                    <a:pt x="626" y="329"/>
                  </a:cubicBezTo>
                  <a:cubicBezTo>
                    <a:pt x="626" y="331"/>
                    <a:pt x="627" y="332"/>
                    <a:pt x="628" y="332"/>
                  </a:cubicBezTo>
                  <a:cubicBezTo>
                    <a:pt x="628" y="332"/>
                    <a:pt x="628" y="332"/>
                    <a:pt x="628" y="332"/>
                  </a:cubicBezTo>
                  <a:cubicBezTo>
                    <a:pt x="629" y="334"/>
                    <a:pt x="629" y="334"/>
                    <a:pt x="628" y="335"/>
                  </a:cubicBezTo>
                  <a:cubicBezTo>
                    <a:pt x="627" y="335"/>
                    <a:pt x="627" y="336"/>
                    <a:pt x="626" y="336"/>
                  </a:cubicBezTo>
                  <a:cubicBezTo>
                    <a:pt x="625" y="337"/>
                    <a:pt x="623" y="338"/>
                    <a:pt x="621" y="342"/>
                  </a:cubicBezTo>
                  <a:cubicBezTo>
                    <a:pt x="621" y="343"/>
                    <a:pt x="621" y="343"/>
                    <a:pt x="621" y="344"/>
                  </a:cubicBezTo>
                  <a:cubicBezTo>
                    <a:pt x="621" y="345"/>
                    <a:pt x="621" y="345"/>
                    <a:pt x="620" y="346"/>
                  </a:cubicBezTo>
                  <a:cubicBezTo>
                    <a:pt x="620" y="347"/>
                    <a:pt x="620" y="347"/>
                    <a:pt x="620" y="347"/>
                  </a:cubicBezTo>
                  <a:cubicBezTo>
                    <a:pt x="619" y="349"/>
                    <a:pt x="619" y="350"/>
                    <a:pt x="619" y="352"/>
                  </a:cubicBezTo>
                  <a:cubicBezTo>
                    <a:pt x="619" y="353"/>
                    <a:pt x="620" y="354"/>
                    <a:pt x="620" y="355"/>
                  </a:cubicBezTo>
                  <a:cubicBezTo>
                    <a:pt x="620" y="358"/>
                    <a:pt x="620" y="361"/>
                    <a:pt x="624" y="365"/>
                  </a:cubicBezTo>
                  <a:cubicBezTo>
                    <a:pt x="627" y="369"/>
                    <a:pt x="632" y="371"/>
                    <a:pt x="637" y="372"/>
                  </a:cubicBezTo>
                  <a:cubicBezTo>
                    <a:pt x="638" y="373"/>
                    <a:pt x="639" y="373"/>
                    <a:pt x="640" y="373"/>
                  </a:cubicBezTo>
                  <a:cubicBezTo>
                    <a:pt x="644" y="373"/>
                    <a:pt x="647" y="371"/>
                    <a:pt x="649" y="370"/>
                  </a:cubicBezTo>
                  <a:cubicBezTo>
                    <a:pt x="650" y="369"/>
                    <a:pt x="651" y="369"/>
                    <a:pt x="652" y="368"/>
                  </a:cubicBezTo>
                  <a:cubicBezTo>
                    <a:pt x="655" y="367"/>
                    <a:pt x="658" y="365"/>
                    <a:pt x="662" y="362"/>
                  </a:cubicBezTo>
                  <a:cubicBezTo>
                    <a:pt x="664" y="360"/>
                    <a:pt x="665" y="358"/>
                    <a:pt x="665" y="357"/>
                  </a:cubicBezTo>
                  <a:cubicBezTo>
                    <a:pt x="666" y="356"/>
                    <a:pt x="666" y="355"/>
                    <a:pt x="666" y="355"/>
                  </a:cubicBezTo>
                  <a:cubicBezTo>
                    <a:pt x="667" y="355"/>
                    <a:pt x="667" y="355"/>
                    <a:pt x="667" y="355"/>
                  </a:cubicBezTo>
                  <a:cubicBezTo>
                    <a:pt x="668" y="355"/>
                    <a:pt x="669" y="355"/>
                    <a:pt x="670" y="356"/>
                  </a:cubicBezTo>
                  <a:cubicBezTo>
                    <a:pt x="671" y="356"/>
                    <a:pt x="671" y="356"/>
                    <a:pt x="671" y="356"/>
                  </a:cubicBezTo>
                  <a:cubicBezTo>
                    <a:pt x="673" y="356"/>
                    <a:pt x="675" y="357"/>
                    <a:pt x="676" y="357"/>
                  </a:cubicBezTo>
                  <a:cubicBezTo>
                    <a:pt x="680" y="357"/>
                    <a:pt x="684" y="355"/>
                    <a:pt x="685" y="353"/>
                  </a:cubicBezTo>
                  <a:cubicBezTo>
                    <a:pt x="686" y="351"/>
                    <a:pt x="686" y="350"/>
                    <a:pt x="685" y="348"/>
                  </a:cubicBezTo>
                  <a:cubicBezTo>
                    <a:pt x="686" y="347"/>
                    <a:pt x="686" y="347"/>
                    <a:pt x="686" y="347"/>
                  </a:cubicBezTo>
                  <a:cubicBezTo>
                    <a:pt x="687" y="348"/>
                    <a:pt x="688" y="350"/>
                    <a:pt x="691" y="351"/>
                  </a:cubicBezTo>
                  <a:cubicBezTo>
                    <a:pt x="691" y="351"/>
                    <a:pt x="691" y="351"/>
                    <a:pt x="691" y="351"/>
                  </a:cubicBezTo>
                  <a:cubicBezTo>
                    <a:pt x="692" y="351"/>
                    <a:pt x="692" y="351"/>
                    <a:pt x="692" y="351"/>
                  </a:cubicBezTo>
                  <a:cubicBezTo>
                    <a:pt x="695" y="351"/>
                    <a:pt x="696" y="348"/>
                    <a:pt x="697" y="347"/>
                  </a:cubicBezTo>
                  <a:cubicBezTo>
                    <a:pt x="697" y="346"/>
                    <a:pt x="697" y="346"/>
                    <a:pt x="697" y="346"/>
                  </a:cubicBezTo>
                  <a:cubicBezTo>
                    <a:pt x="698" y="346"/>
                    <a:pt x="698" y="347"/>
                    <a:pt x="698" y="348"/>
                  </a:cubicBezTo>
                  <a:cubicBezTo>
                    <a:pt x="699" y="348"/>
                    <a:pt x="699" y="348"/>
                    <a:pt x="699" y="348"/>
                  </a:cubicBezTo>
                  <a:cubicBezTo>
                    <a:pt x="700" y="350"/>
                    <a:pt x="702" y="352"/>
                    <a:pt x="703" y="353"/>
                  </a:cubicBezTo>
                  <a:cubicBezTo>
                    <a:pt x="704" y="354"/>
                    <a:pt x="704" y="354"/>
                    <a:pt x="705" y="355"/>
                  </a:cubicBezTo>
                  <a:cubicBezTo>
                    <a:pt x="707" y="357"/>
                    <a:pt x="709" y="358"/>
                    <a:pt x="711" y="359"/>
                  </a:cubicBezTo>
                  <a:cubicBezTo>
                    <a:pt x="713" y="360"/>
                    <a:pt x="713" y="360"/>
                    <a:pt x="713" y="360"/>
                  </a:cubicBezTo>
                  <a:cubicBezTo>
                    <a:pt x="715" y="361"/>
                    <a:pt x="716" y="362"/>
                    <a:pt x="717" y="364"/>
                  </a:cubicBezTo>
                  <a:cubicBezTo>
                    <a:pt x="717" y="364"/>
                    <a:pt x="717" y="364"/>
                    <a:pt x="717" y="364"/>
                  </a:cubicBezTo>
                  <a:cubicBezTo>
                    <a:pt x="719" y="367"/>
                    <a:pt x="721" y="368"/>
                    <a:pt x="724" y="368"/>
                  </a:cubicBezTo>
                  <a:cubicBezTo>
                    <a:pt x="724" y="368"/>
                    <a:pt x="725" y="368"/>
                    <a:pt x="726" y="368"/>
                  </a:cubicBezTo>
                  <a:cubicBezTo>
                    <a:pt x="727" y="368"/>
                    <a:pt x="727" y="368"/>
                    <a:pt x="728" y="369"/>
                  </a:cubicBezTo>
                  <a:cubicBezTo>
                    <a:pt x="729" y="369"/>
                    <a:pt x="731" y="370"/>
                    <a:pt x="733" y="370"/>
                  </a:cubicBezTo>
                  <a:cubicBezTo>
                    <a:pt x="733" y="370"/>
                    <a:pt x="733" y="370"/>
                    <a:pt x="733" y="370"/>
                  </a:cubicBezTo>
                  <a:cubicBezTo>
                    <a:pt x="734" y="370"/>
                    <a:pt x="735" y="370"/>
                    <a:pt x="737" y="370"/>
                  </a:cubicBezTo>
                  <a:cubicBezTo>
                    <a:pt x="739" y="370"/>
                    <a:pt x="740" y="370"/>
                    <a:pt x="742" y="370"/>
                  </a:cubicBezTo>
                  <a:cubicBezTo>
                    <a:pt x="741" y="371"/>
                    <a:pt x="741" y="371"/>
                    <a:pt x="740" y="372"/>
                  </a:cubicBezTo>
                  <a:cubicBezTo>
                    <a:pt x="738" y="374"/>
                    <a:pt x="736" y="377"/>
                    <a:pt x="736" y="380"/>
                  </a:cubicBezTo>
                  <a:cubicBezTo>
                    <a:pt x="736" y="381"/>
                    <a:pt x="737" y="383"/>
                    <a:pt x="739" y="384"/>
                  </a:cubicBezTo>
                  <a:cubicBezTo>
                    <a:pt x="741" y="386"/>
                    <a:pt x="742" y="388"/>
                    <a:pt x="744" y="390"/>
                  </a:cubicBezTo>
                  <a:cubicBezTo>
                    <a:pt x="746" y="392"/>
                    <a:pt x="748" y="392"/>
                    <a:pt x="751" y="392"/>
                  </a:cubicBezTo>
                  <a:cubicBezTo>
                    <a:pt x="752" y="392"/>
                    <a:pt x="753" y="392"/>
                    <a:pt x="754" y="392"/>
                  </a:cubicBezTo>
                  <a:cubicBezTo>
                    <a:pt x="755" y="392"/>
                    <a:pt x="756" y="392"/>
                    <a:pt x="757" y="392"/>
                  </a:cubicBezTo>
                  <a:cubicBezTo>
                    <a:pt x="757" y="392"/>
                    <a:pt x="758" y="392"/>
                    <a:pt x="758" y="392"/>
                  </a:cubicBezTo>
                  <a:cubicBezTo>
                    <a:pt x="759" y="393"/>
                    <a:pt x="759" y="394"/>
                    <a:pt x="758" y="395"/>
                  </a:cubicBezTo>
                  <a:cubicBezTo>
                    <a:pt x="758" y="396"/>
                    <a:pt x="758" y="397"/>
                    <a:pt x="759" y="398"/>
                  </a:cubicBezTo>
                  <a:cubicBezTo>
                    <a:pt x="759" y="402"/>
                    <a:pt x="763" y="407"/>
                    <a:pt x="769" y="407"/>
                  </a:cubicBezTo>
                  <a:cubicBezTo>
                    <a:pt x="770" y="407"/>
                    <a:pt x="770" y="407"/>
                    <a:pt x="771" y="407"/>
                  </a:cubicBezTo>
                  <a:cubicBezTo>
                    <a:pt x="776" y="405"/>
                    <a:pt x="776" y="401"/>
                    <a:pt x="776" y="399"/>
                  </a:cubicBezTo>
                  <a:cubicBezTo>
                    <a:pt x="775" y="397"/>
                    <a:pt x="776" y="396"/>
                    <a:pt x="776" y="396"/>
                  </a:cubicBezTo>
                  <a:cubicBezTo>
                    <a:pt x="777" y="396"/>
                    <a:pt x="779" y="395"/>
                    <a:pt x="781" y="395"/>
                  </a:cubicBezTo>
                  <a:cubicBezTo>
                    <a:pt x="783" y="395"/>
                    <a:pt x="784" y="395"/>
                    <a:pt x="785" y="395"/>
                  </a:cubicBezTo>
                  <a:cubicBezTo>
                    <a:pt x="786" y="396"/>
                    <a:pt x="788" y="398"/>
                    <a:pt x="789" y="399"/>
                  </a:cubicBezTo>
                  <a:cubicBezTo>
                    <a:pt x="792" y="401"/>
                    <a:pt x="795" y="403"/>
                    <a:pt x="798" y="404"/>
                  </a:cubicBezTo>
                  <a:cubicBezTo>
                    <a:pt x="801" y="405"/>
                    <a:pt x="803" y="405"/>
                    <a:pt x="806" y="405"/>
                  </a:cubicBezTo>
                  <a:cubicBezTo>
                    <a:pt x="808" y="405"/>
                    <a:pt x="809" y="405"/>
                    <a:pt x="811" y="405"/>
                  </a:cubicBezTo>
                  <a:cubicBezTo>
                    <a:pt x="812" y="405"/>
                    <a:pt x="813" y="405"/>
                    <a:pt x="814" y="405"/>
                  </a:cubicBezTo>
                  <a:cubicBezTo>
                    <a:pt x="814" y="405"/>
                    <a:pt x="814" y="405"/>
                    <a:pt x="815" y="405"/>
                  </a:cubicBezTo>
                  <a:cubicBezTo>
                    <a:pt x="817" y="405"/>
                    <a:pt x="819" y="405"/>
                    <a:pt x="822" y="405"/>
                  </a:cubicBezTo>
                  <a:cubicBezTo>
                    <a:pt x="823" y="405"/>
                    <a:pt x="823" y="405"/>
                    <a:pt x="823" y="405"/>
                  </a:cubicBezTo>
                  <a:cubicBezTo>
                    <a:pt x="823" y="405"/>
                    <a:pt x="824" y="405"/>
                    <a:pt x="824" y="405"/>
                  </a:cubicBezTo>
                  <a:cubicBezTo>
                    <a:pt x="826" y="405"/>
                    <a:pt x="827" y="405"/>
                    <a:pt x="828" y="405"/>
                  </a:cubicBezTo>
                  <a:cubicBezTo>
                    <a:pt x="829" y="405"/>
                    <a:pt x="830" y="404"/>
                    <a:pt x="831" y="404"/>
                  </a:cubicBezTo>
                  <a:cubicBezTo>
                    <a:pt x="832" y="404"/>
                    <a:pt x="835" y="405"/>
                    <a:pt x="836" y="405"/>
                  </a:cubicBezTo>
                  <a:cubicBezTo>
                    <a:pt x="839" y="406"/>
                    <a:pt x="842" y="407"/>
                    <a:pt x="845" y="407"/>
                  </a:cubicBezTo>
                  <a:cubicBezTo>
                    <a:pt x="848" y="407"/>
                    <a:pt x="850" y="406"/>
                    <a:pt x="851" y="404"/>
                  </a:cubicBezTo>
                  <a:cubicBezTo>
                    <a:pt x="853" y="403"/>
                    <a:pt x="853" y="400"/>
                    <a:pt x="853" y="398"/>
                  </a:cubicBezTo>
                  <a:cubicBezTo>
                    <a:pt x="853" y="389"/>
                    <a:pt x="844" y="382"/>
                    <a:pt x="837" y="378"/>
                  </a:cubicBezTo>
                  <a:cubicBezTo>
                    <a:pt x="834" y="377"/>
                    <a:pt x="832" y="376"/>
                    <a:pt x="829" y="375"/>
                  </a:cubicBezTo>
                  <a:cubicBezTo>
                    <a:pt x="824" y="373"/>
                    <a:pt x="820" y="371"/>
                    <a:pt x="816" y="368"/>
                  </a:cubicBezTo>
                  <a:cubicBezTo>
                    <a:pt x="814" y="367"/>
                    <a:pt x="812" y="367"/>
                    <a:pt x="810" y="366"/>
                  </a:cubicBezTo>
                  <a:cubicBezTo>
                    <a:pt x="809" y="366"/>
                    <a:pt x="808" y="366"/>
                    <a:pt x="807" y="365"/>
                  </a:cubicBezTo>
                  <a:cubicBezTo>
                    <a:pt x="803" y="364"/>
                    <a:pt x="798" y="361"/>
                    <a:pt x="794" y="359"/>
                  </a:cubicBezTo>
                  <a:cubicBezTo>
                    <a:pt x="793" y="358"/>
                    <a:pt x="791" y="357"/>
                    <a:pt x="790" y="357"/>
                  </a:cubicBezTo>
                  <a:cubicBezTo>
                    <a:pt x="788" y="355"/>
                    <a:pt x="786" y="354"/>
                    <a:pt x="785" y="353"/>
                  </a:cubicBezTo>
                  <a:cubicBezTo>
                    <a:pt x="785" y="352"/>
                    <a:pt x="785" y="352"/>
                    <a:pt x="785" y="352"/>
                  </a:cubicBezTo>
                  <a:cubicBezTo>
                    <a:pt x="786" y="352"/>
                    <a:pt x="788" y="353"/>
                    <a:pt x="789" y="353"/>
                  </a:cubicBezTo>
                  <a:cubicBezTo>
                    <a:pt x="791" y="354"/>
                    <a:pt x="792" y="354"/>
                    <a:pt x="793" y="354"/>
                  </a:cubicBezTo>
                  <a:cubicBezTo>
                    <a:pt x="794" y="354"/>
                    <a:pt x="795" y="354"/>
                    <a:pt x="796" y="354"/>
                  </a:cubicBezTo>
                  <a:cubicBezTo>
                    <a:pt x="797" y="354"/>
                    <a:pt x="797" y="354"/>
                    <a:pt x="798" y="354"/>
                  </a:cubicBezTo>
                  <a:cubicBezTo>
                    <a:pt x="799" y="354"/>
                    <a:pt x="799" y="354"/>
                    <a:pt x="800" y="354"/>
                  </a:cubicBezTo>
                  <a:cubicBezTo>
                    <a:pt x="801" y="354"/>
                    <a:pt x="802" y="354"/>
                    <a:pt x="802" y="355"/>
                  </a:cubicBezTo>
                  <a:cubicBezTo>
                    <a:pt x="806" y="355"/>
                    <a:pt x="809" y="357"/>
                    <a:pt x="812" y="358"/>
                  </a:cubicBezTo>
                  <a:cubicBezTo>
                    <a:pt x="815" y="359"/>
                    <a:pt x="817" y="360"/>
                    <a:pt x="819" y="361"/>
                  </a:cubicBezTo>
                  <a:cubicBezTo>
                    <a:pt x="820" y="361"/>
                    <a:pt x="821" y="362"/>
                    <a:pt x="822" y="362"/>
                  </a:cubicBezTo>
                  <a:cubicBezTo>
                    <a:pt x="823" y="362"/>
                    <a:pt x="824" y="361"/>
                    <a:pt x="825" y="361"/>
                  </a:cubicBezTo>
                  <a:cubicBezTo>
                    <a:pt x="826" y="361"/>
                    <a:pt x="827" y="361"/>
                    <a:pt x="827" y="361"/>
                  </a:cubicBezTo>
                  <a:cubicBezTo>
                    <a:pt x="827" y="361"/>
                    <a:pt x="828" y="361"/>
                    <a:pt x="828" y="361"/>
                  </a:cubicBezTo>
                  <a:cubicBezTo>
                    <a:pt x="828" y="361"/>
                    <a:pt x="829" y="362"/>
                    <a:pt x="830" y="362"/>
                  </a:cubicBezTo>
                  <a:cubicBezTo>
                    <a:pt x="831" y="363"/>
                    <a:pt x="832" y="365"/>
                    <a:pt x="834" y="365"/>
                  </a:cubicBezTo>
                  <a:cubicBezTo>
                    <a:pt x="835" y="366"/>
                    <a:pt x="836" y="366"/>
                    <a:pt x="838" y="366"/>
                  </a:cubicBezTo>
                  <a:cubicBezTo>
                    <a:pt x="838" y="366"/>
                    <a:pt x="839" y="366"/>
                    <a:pt x="840" y="366"/>
                  </a:cubicBezTo>
                  <a:cubicBezTo>
                    <a:pt x="841" y="366"/>
                    <a:pt x="842" y="366"/>
                    <a:pt x="842" y="366"/>
                  </a:cubicBezTo>
                  <a:cubicBezTo>
                    <a:pt x="843" y="366"/>
                    <a:pt x="843" y="366"/>
                    <a:pt x="843" y="366"/>
                  </a:cubicBezTo>
                  <a:cubicBezTo>
                    <a:pt x="844" y="366"/>
                    <a:pt x="845" y="366"/>
                    <a:pt x="846" y="367"/>
                  </a:cubicBezTo>
                  <a:cubicBezTo>
                    <a:pt x="847" y="367"/>
                    <a:pt x="847" y="367"/>
                    <a:pt x="847" y="367"/>
                  </a:cubicBezTo>
                  <a:cubicBezTo>
                    <a:pt x="848" y="368"/>
                    <a:pt x="848" y="368"/>
                    <a:pt x="849" y="368"/>
                  </a:cubicBezTo>
                  <a:cubicBezTo>
                    <a:pt x="850" y="369"/>
                    <a:pt x="851" y="369"/>
                    <a:pt x="852" y="370"/>
                  </a:cubicBezTo>
                  <a:cubicBezTo>
                    <a:pt x="854" y="371"/>
                    <a:pt x="855" y="371"/>
                    <a:pt x="857" y="371"/>
                  </a:cubicBezTo>
                  <a:cubicBezTo>
                    <a:pt x="859" y="371"/>
                    <a:pt x="861" y="370"/>
                    <a:pt x="862" y="367"/>
                  </a:cubicBezTo>
                  <a:cubicBezTo>
                    <a:pt x="863" y="365"/>
                    <a:pt x="862" y="362"/>
                    <a:pt x="861" y="360"/>
                  </a:cubicBezTo>
                  <a:cubicBezTo>
                    <a:pt x="861" y="360"/>
                    <a:pt x="861" y="360"/>
                    <a:pt x="862" y="359"/>
                  </a:cubicBezTo>
                  <a:close/>
                  <a:moveTo>
                    <a:pt x="493" y="120"/>
                  </a:moveTo>
                  <a:cubicBezTo>
                    <a:pt x="493" y="120"/>
                    <a:pt x="493" y="121"/>
                    <a:pt x="493" y="121"/>
                  </a:cubicBezTo>
                  <a:cubicBezTo>
                    <a:pt x="492" y="120"/>
                    <a:pt x="490" y="120"/>
                    <a:pt x="489" y="120"/>
                  </a:cubicBezTo>
                  <a:cubicBezTo>
                    <a:pt x="489" y="120"/>
                    <a:pt x="489" y="120"/>
                    <a:pt x="489" y="120"/>
                  </a:cubicBezTo>
                  <a:cubicBezTo>
                    <a:pt x="490" y="120"/>
                    <a:pt x="490" y="120"/>
                    <a:pt x="490" y="120"/>
                  </a:cubicBezTo>
                  <a:cubicBezTo>
                    <a:pt x="492" y="118"/>
                    <a:pt x="493" y="116"/>
                    <a:pt x="494" y="115"/>
                  </a:cubicBezTo>
                  <a:cubicBezTo>
                    <a:pt x="494" y="116"/>
                    <a:pt x="493" y="120"/>
                    <a:pt x="493" y="120"/>
                  </a:cubicBezTo>
                  <a:close/>
                  <a:moveTo>
                    <a:pt x="457" y="346"/>
                  </a:moveTo>
                  <a:cubicBezTo>
                    <a:pt x="452" y="346"/>
                    <a:pt x="448" y="345"/>
                    <a:pt x="445" y="342"/>
                  </a:cubicBezTo>
                  <a:cubicBezTo>
                    <a:pt x="444" y="341"/>
                    <a:pt x="444" y="341"/>
                    <a:pt x="444" y="341"/>
                  </a:cubicBezTo>
                  <a:cubicBezTo>
                    <a:pt x="443" y="340"/>
                    <a:pt x="442" y="339"/>
                    <a:pt x="441" y="338"/>
                  </a:cubicBezTo>
                  <a:cubicBezTo>
                    <a:pt x="440" y="336"/>
                    <a:pt x="439" y="335"/>
                    <a:pt x="438" y="333"/>
                  </a:cubicBezTo>
                  <a:cubicBezTo>
                    <a:pt x="437" y="331"/>
                    <a:pt x="435" y="330"/>
                    <a:pt x="433" y="329"/>
                  </a:cubicBezTo>
                  <a:cubicBezTo>
                    <a:pt x="431" y="328"/>
                    <a:pt x="430" y="327"/>
                    <a:pt x="428" y="326"/>
                  </a:cubicBezTo>
                  <a:cubicBezTo>
                    <a:pt x="430" y="326"/>
                    <a:pt x="433" y="326"/>
                    <a:pt x="435" y="327"/>
                  </a:cubicBezTo>
                  <a:cubicBezTo>
                    <a:pt x="437" y="328"/>
                    <a:pt x="439" y="329"/>
                    <a:pt x="440" y="330"/>
                  </a:cubicBezTo>
                  <a:cubicBezTo>
                    <a:pt x="443" y="332"/>
                    <a:pt x="445" y="334"/>
                    <a:pt x="447" y="336"/>
                  </a:cubicBezTo>
                  <a:cubicBezTo>
                    <a:pt x="448" y="338"/>
                    <a:pt x="450" y="340"/>
                    <a:pt x="453" y="342"/>
                  </a:cubicBezTo>
                  <a:cubicBezTo>
                    <a:pt x="453" y="342"/>
                    <a:pt x="454" y="342"/>
                    <a:pt x="454" y="343"/>
                  </a:cubicBezTo>
                  <a:cubicBezTo>
                    <a:pt x="455" y="344"/>
                    <a:pt x="456" y="345"/>
                    <a:pt x="457" y="345"/>
                  </a:cubicBezTo>
                  <a:cubicBezTo>
                    <a:pt x="458" y="346"/>
                    <a:pt x="458" y="346"/>
                    <a:pt x="458" y="346"/>
                  </a:cubicBezTo>
                  <a:cubicBezTo>
                    <a:pt x="458" y="346"/>
                    <a:pt x="458" y="346"/>
                    <a:pt x="458" y="346"/>
                  </a:cubicBezTo>
                  <a:cubicBezTo>
                    <a:pt x="458" y="346"/>
                    <a:pt x="458" y="346"/>
                    <a:pt x="457" y="346"/>
                  </a:cubicBezTo>
                  <a:close/>
                  <a:moveTo>
                    <a:pt x="567" y="79"/>
                  </a:moveTo>
                  <a:cubicBezTo>
                    <a:pt x="566" y="78"/>
                    <a:pt x="566" y="78"/>
                    <a:pt x="566" y="78"/>
                  </a:cubicBezTo>
                  <a:cubicBezTo>
                    <a:pt x="565" y="77"/>
                    <a:pt x="564" y="76"/>
                    <a:pt x="563" y="75"/>
                  </a:cubicBezTo>
                  <a:cubicBezTo>
                    <a:pt x="563" y="75"/>
                    <a:pt x="563" y="75"/>
                    <a:pt x="563" y="74"/>
                  </a:cubicBezTo>
                  <a:cubicBezTo>
                    <a:pt x="563" y="74"/>
                    <a:pt x="564" y="74"/>
                    <a:pt x="564" y="74"/>
                  </a:cubicBezTo>
                  <a:cubicBezTo>
                    <a:pt x="567" y="75"/>
                    <a:pt x="572" y="79"/>
                    <a:pt x="573" y="81"/>
                  </a:cubicBezTo>
                  <a:cubicBezTo>
                    <a:pt x="573" y="82"/>
                    <a:pt x="573" y="82"/>
                    <a:pt x="573" y="82"/>
                  </a:cubicBezTo>
                  <a:cubicBezTo>
                    <a:pt x="573" y="82"/>
                    <a:pt x="573" y="82"/>
                    <a:pt x="572" y="82"/>
                  </a:cubicBezTo>
                  <a:cubicBezTo>
                    <a:pt x="571" y="82"/>
                    <a:pt x="569" y="81"/>
                    <a:pt x="567" y="79"/>
                  </a:cubicBezTo>
                  <a:close/>
                  <a:moveTo>
                    <a:pt x="573" y="140"/>
                  </a:moveTo>
                  <a:cubicBezTo>
                    <a:pt x="573" y="140"/>
                    <a:pt x="574" y="140"/>
                    <a:pt x="574" y="140"/>
                  </a:cubicBezTo>
                  <a:cubicBezTo>
                    <a:pt x="574" y="140"/>
                    <a:pt x="574" y="140"/>
                    <a:pt x="574" y="140"/>
                  </a:cubicBezTo>
                  <a:cubicBezTo>
                    <a:pt x="575" y="140"/>
                    <a:pt x="575" y="141"/>
                    <a:pt x="575" y="142"/>
                  </a:cubicBezTo>
                  <a:cubicBezTo>
                    <a:pt x="575" y="142"/>
                    <a:pt x="576" y="143"/>
                    <a:pt x="576" y="144"/>
                  </a:cubicBezTo>
                  <a:cubicBezTo>
                    <a:pt x="575" y="143"/>
                    <a:pt x="574" y="142"/>
                    <a:pt x="573" y="140"/>
                  </a:cubicBezTo>
                  <a:close/>
                  <a:moveTo>
                    <a:pt x="739" y="259"/>
                  </a:moveTo>
                  <a:cubicBezTo>
                    <a:pt x="739" y="260"/>
                    <a:pt x="738" y="261"/>
                    <a:pt x="736" y="261"/>
                  </a:cubicBezTo>
                  <a:cubicBezTo>
                    <a:pt x="736" y="261"/>
                    <a:pt x="735" y="261"/>
                    <a:pt x="735" y="261"/>
                  </a:cubicBezTo>
                  <a:cubicBezTo>
                    <a:pt x="734" y="261"/>
                    <a:pt x="732" y="261"/>
                    <a:pt x="732" y="261"/>
                  </a:cubicBezTo>
                  <a:cubicBezTo>
                    <a:pt x="731" y="261"/>
                    <a:pt x="731" y="261"/>
                    <a:pt x="730" y="261"/>
                  </a:cubicBezTo>
                  <a:cubicBezTo>
                    <a:pt x="726" y="263"/>
                    <a:pt x="723" y="268"/>
                    <a:pt x="720" y="273"/>
                  </a:cubicBezTo>
                  <a:cubicBezTo>
                    <a:pt x="719" y="273"/>
                    <a:pt x="719" y="273"/>
                    <a:pt x="719" y="273"/>
                  </a:cubicBezTo>
                  <a:cubicBezTo>
                    <a:pt x="720" y="271"/>
                    <a:pt x="720" y="270"/>
                    <a:pt x="719" y="267"/>
                  </a:cubicBezTo>
                  <a:cubicBezTo>
                    <a:pt x="717" y="262"/>
                    <a:pt x="714" y="259"/>
                    <a:pt x="710" y="258"/>
                  </a:cubicBezTo>
                  <a:cubicBezTo>
                    <a:pt x="712" y="254"/>
                    <a:pt x="713" y="250"/>
                    <a:pt x="713" y="246"/>
                  </a:cubicBezTo>
                  <a:cubicBezTo>
                    <a:pt x="716" y="247"/>
                    <a:pt x="719" y="249"/>
                    <a:pt x="723" y="250"/>
                  </a:cubicBezTo>
                  <a:cubicBezTo>
                    <a:pt x="725" y="250"/>
                    <a:pt x="727" y="251"/>
                    <a:pt x="729" y="251"/>
                  </a:cubicBezTo>
                  <a:cubicBezTo>
                    <a:pt x="731" y="251"/>
                    <a:pt x="734" y="251"/>
                    <a:pt x="736" y="252"/>
                  </a:cubicBezTo>
                  <a:cubicBezTo>
                    <a:pt x="738" y="253"/>
                    <a:pt x="739" y="255"/>
                    <a:pt x="740" y="257"/>
                  </a:cubicBezTo>
                  <a:cubicBezTo>
                    <a:pt x="740" y="258"/>
                    <a:pt x="740" y="259"/>
                    <a:pt x="739" y="259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121899" tIns="60950" rIns="121899" bIns="6095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5" name="Freeform 66"/>
            <p:cNvSpPr>
              <a:spLocks/>
            </p:cNvSpPr>
            <p:nvPr/>
          </p:nvSpPr>
          <p:spPr bwMode="auto">
            <a:xfrm>
              <a:off x="15718247" y="7338739"/>
              <a:ext cx="3106348" cy="2881984"/>
            </a:xfrm>
            <a:custGeom>
              <a:avLst/>
              <a:gdLst>
                <a:gd name="T0" fmla="*/ 559 w 570"/>
                <a:gd name="T1" fmla="*/ 394 h 581"/>
                <a:gd name="T2" fmla="*/ 526 w 570"/>
                <a:gd name="T3" fmla="*/ 405 h 581"/>
                <a:gd name="T4" fmla="*/ 491 w 570"/>
                <a:gd name="T5" fmla="*/ 395 h 581"/>
                <a:gd name="T6" fmla="*/ 440 w 570"/>
                <a:gd name="T7" fmla="*/ 385 h 581"/>
                <a:gd name="T8" fmla="*/ 410 w 570"/>
                <a:gd name="T9" fmla="*/ 340 h 581"/>
                <a:gd name="T10" fmla="*/ 384 w 570"/>
                <a:gd name="T11" fmla="*/ 194 h 581"/>
                <a:gd name="T12" fmla="*/ 380 w 570"/>
                <a:gd name="T13" fmla="*/ 198 h 581"/>
                <a:gd name="T14" fmla="*/ 354 w 570"/>
                <a:gd name="T15" fmla="*/ 176 h 581"/>
                <a:gd name="T16" fmla="*/ 337 w 570"/>
                <a:gd name="T17" fmla="*/ 165 h 581"/>
                <a:gd name="T18" fmla="*/ 318 w 570"/>
                <a:gd name="T19" fmla="*/ 142 h 581"/>
                <a:gd name="T20" fmla="*/ 316 w 570"/>
                <a:gd name="T21" fmla="*/ 132 h 581"/>
                <a:gd name="T22" fmla="*/ 315 w 570"/>
                <a:gd name="T23" fmla="*/ 115 h 581"/>
                <a:gd name="T24" fmla="*/ 310 w 570"/>
                <a:gd name="T25" fmla="*/ 95 h 581"/>
                <a:gd name="T26" fmla="*/ 309 w 570"/>
                <a:gd name="T27" fmla="*/ 73 h 581"/>
                <a:gd name="T28" fmla="*/ 296 w 570"/>
                <a:gd name="T29" fmla="*/ 54 h 581"/>
                <a:gd name="T30" fmla="*/ 282 w 570"/>
                <a:gd name="T31" fmla="*/ 54 h 581"/>
                <a:gd name="T32" fmla="*/ 269 w 570"/>
                <a:gd name="T33" fmla="*/ 51 h 581"/>
                <a:gd name="T34" fmla="*/ 246 w 570"/>
                <a:gd name="T35" fmla="*/ 56 h 581"/>
                <a:gd name="T36" fmla="*/ 238 w 570"/>
                <a:gd name="T37" fmla="*/ 51 h 581"/>
                <a:gd name="T38" fmla="*/ 226 w 570"/>
                <a:gd name="T39" fmla="*/ 42 h 581"/>
                <a:gd name="T40" fmla="*/ 208 w 570"/>
                <a:gd name="T41" fmla="*/ 36 h 581"/>
                <a:gd name="T42" fmla="*/ 193 w 570"/>
                <a:gd name="T43" fmla="*/ 30 h 581"/>
                <a:gd name="T44" fmla="*/ 177 w 570"/>
                <a:gd name="T45" fmla="*/ 13 h 581"/>
                <a:gd name="T46" fmla="*/ 161 w 570"/>
                <a:gd name="T47" fmla="*/ 1 h 581"/>
                <a:gd name="T48" fmla="*/ 0 w 570"/>
                <a:gd name="T49" fmla="*/ 288 h 581"/>
                <a:gd name="T50" fmla="*/ 6 w 570"/>
                <a:gd name="T51" fmla="*/ 297 h 581"/>
                <a:gd name="T52" fmla="*/ 47 w 570"/>
                <a:gd name="T53" fmla="*/ 322 h 581"/>
                <a:gd name="T54" fmla="*/ 69 w 570"/>
                <a:gd name="T55" fmla="*/ 337 h 581"/>
                <a:gd name="T56" fmla="*/ 87 w 570"/>
                <a:gd name="T57" fmla="*/ 346 h 581"/>
                <a:gd name="T58" fmla="*/ 121 w 570"/>
                <a:gd name="T59" fmla="*/ 345 h 581"/>
                <a:gd name="T60" fmla="*/ 160 w 570"/>
                <a:gd name="T61" fmla="*/ 332 h 581"/>
                <a:gd name="T62" fmla="*/ 182 w 570"/>
                <a:gd name="T63" fmla="*/ 310 h 581"/>
                <a:gd name="T64" fmla="*/ 208 w 570"/>
                <a:gd name="T65" fmla="*/ 316 h 581"/>
                <a:gd name="T66" fmla="*/ 227 w 570"/>
                <a:gd name="T67" fmla="*/ 325 h 581"/>
                <a:gd name="T68" fmla="*/ 243 w 570"/>
                <a:gd name="T69" fmla="*/ 348 h 581"/>
                <a:gd name="T70" fmla="*/ 266 w 570"/>
                <a:gd name="T71" fmla="*/ 346 h 581"/>
                <a:gd name="T72" fmla="*/ 275 w 570"/>
                <a:gd name="T73" fmla="*/ 370 h 581"/>
                <a:gd name="T74" fmla="*/ 282 w 570"/>
                <a:gd name="T75" fmla="*/ 389 h 581"/>
                <a:gd name="T76" fmla="*/ 327 w 570"/>
                <a:gd name="T77" fmla="*/ 413 h 581"/>
                <a:gd name="T78" fmla="*/ 385 w 570"/>
                <a:gd name="T79" fmla="*/ 418 h 581"/>
                <a:gd name="T80" fmla="*/ 393 w 570"/>
                <a:gd name="T81" fmla="*/ 421 h 581"/>
                <a:gd name="T82" fmla="*/ 415 w 570"/>
                <a:gd name="T83" fmla="*/ 448 h 581"/>
                <a:gd name="T84" fmla="*/ 414 w 570"/>
                <a:gd name="T85" fmla="*/ 460 h 581"/>
                <a:gd name="T86" fmla="*/ 398 w 570"/>
                <a:gd name="T87" fmla="*/ 458 h 581"/>
                <a:gd name="T88" fmla="*/ 384 w 570"/>
                <a:gd name="T89" fmla="*/ 447 h 581"/>
                <a:gd name="T90" fmla="*/ 365 w 570"/>
                <a:gd name="T91" fmla="*/ 441 h 581"/>
                <a:gd name="T92" fmla="*/ 374 w 570"/>
                <a:gd name="T93" fmla="*/ 471 h 581"/>
                <a:gd name="T94" fmla="*/ 370 w 570"/>
                <a:gd name="T95" fmla="*/ 495 h 581"/>
                <a:gd name="T96" fmla="*/ 360 w 570"/>
                <a:gd name="T97" fmla="*/ 530 h 581"/>
                <a:gd name="T98" fmla="*/ 363 w 570"/>
                <a:gd name="T99" fmla="*/ 551 h 581"/>
                <a:gd name="T100" fmla="*/ 340 w 570"/>
                <a:gd name="T101" fmla="*/ 577 h 581"/>
                <a:gd name="T102" fmla="*/ 386 w 570"/>
                <a:gd name="T103" fmla="*/ 555 h 581"/>
                <a:gd name="T104" fmla="*/ 409 w 570"/>
                <a:gd name="T105" fmla="*/ 547 h 581"/>
                <a:gd name="T106" fmla="*/ 439 w 570"/>
                <a:gd name="T107" fmla="*/ 535 h 581"/>
                <a:gd name="T108" fmla="*/ 457 w 570"/>
                <a:gd name="T109" fmla="*/ 512 h 581"/>
                <a:gd name="T110" fmla="*/ 441 w 570"/>
                <a:gd name="T111" fmla="*/ 502 h 581"/>
                <a:gd name="T112" fmla="*/ 492 w 570"/>
                <a:gd name="T113" fmla="*/ 477 h 581"/>
                <a:gd name="T114" fmla="*/ 521 w 570"/>
                <a:gd name="T115" fmla="*/ 460 h 581"/>
                <a:gd name="T116" fmla="*/ 570 w 570"/>
                <a:gd name="T117" fmla="*/ 416 h 5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70" h="581">
                  <a:moveTo>
                    <a:pt x="569" y="413"/>
                  </a:moveTo>
                  <a:cubicBezTo>
                    <a:pt x="568" y="411"/>
                    <a:pt x="568" y="410"/>
                    <a:pt x="567" y="408"/>
                  </a:cubicBezTo>
                  <a:cubicBezTo>
                    <a:pt x="567" y="408"/>
                    <a:pt x="566" y="405"/>
                    <a:pt x="566" y="404"/>
                  </a:cubicBezTo>
                  <a:cubicBezTo>
                    <a:pt x="565" y="399"/>
                    <a:pt x="563" y="396"/>
                    <a:pt x="561" y="395"/>
                  </a:cubicBezTo>
                  <a:cubicBezTo>
                    <a:pt x="560" y="394"/>
                    <a:pt x="560" y="394"/>
                    <a:pt x="559" y="394"/>
                  </a:cubicBezTo>
                  <a:cubicBezTo>
                    <a:pt x="556" y="394"/>
                    <a:pt x="553" y="395"/>
                    <a:pt x="550" y="397"/>
                  </a:cubicBezTo>
                  <a:cubicBezTo>
                    <a:pt x="547" y="397"/>
                    <a:pt x="544" y="398"/>
                    <a:pt x="542" y="399"/>
                  </a:cubicBezTo>
                  <a:cubicBezTo>
                    <a:pt x="537" y="400"/>
                    <a:pt x="533" y="401"/>
                    <a:pt x="529" y="403"/>
                  </a:cubicBezTo>
                  <a:cubicBezTo>
                    <a:pt x="528" y="404"/>
                    <a:pt x="527" y="405"/>
                    <a:pt x="526" y="405"/>
                  </a:cubicBezTo>
                  <a:cubicBezTo>
                    <a:pt x="526" y="405"/>
                    <a:pt x="526" y="405"/>
                    <a:pt x="526" y="405"/>
                  </a:cubicBezTo>
                  <a:cubicBezTo>
                    <a:pt x="523" y="407"/>
                    <a:pt x="521" y="408"/>
                    <a:pt x="518" y="408"/>
                  </a:cubicBezTo>
                  <a:cubicBezTo>
                    <a:pt x="516" y="408"/>
                    <a:pt x="514" y="407"/>
                    <a:pt x="511" y="406"/>
                  </a:cubicBezTo>
                  <a:cubicBezTo>
                    <a:pt x="508" y="405"/>
                    <a:pt x="506" y="403"/>
                    <a:pt x="504" y="401"/>
                  </a:cubicBezTo>
                  <a:cubicBezTo>
                    <a:pt x="500" y="398"/>
                    <a:pt x="496" y="395"/>
                    <a:pt x="492" y="395"/>
                  </a:cubicBezTo>
                  <a:cubicBezTo>
                    <a:pt x="491" y="395"/>
                    <a:pt x="491" y="395"/>
                    <a:pt x="491" y="395"/>
                  </a:cubicBezTo>
                  <a:cubicBezTo>
                    <a:pt x="487" y="395"/>
                    <a:pt x="481" y="397"/>
                    <a:pt x="476" y="398"/>
                  </a:cubicBezTo>
                  <a:cubicBezTo>
                    <a:pt x="473" y="398"/>
                    <a:pt x="470" y="399"/>
                    <a:pt x="468" y="399"/>
                  </a:cubicBezTo>
                  <a:cubicBezTo>
                    <a:pt x="466" y="400"/>
                    <a:pt x="464" y="400"/>
                    <a:pt x="462" y="400"/>
                  </a:cubicBezTo>
                  <a:cubicBezTo>
                    <a:pt x="451" y="400"/>
                    <a:pt x="447" y="394"/>
                    <a:pt x="441" y="386"/>
                  </a:cubicBezTo>
                  <a:cubicBezTo>
                    <a:pt x="440" y="385"/>
                    <a:pt x="440" y="385"/>
                    <a:pt x="440" y="385"/>
                  </a:cubicBezTo>
                  <a:cubicBezTo>
                    <a:pt x="439" y="383"/>
                    <a:pt x="438" y="382"/>
                    <a:pt x="436" y="380"/>
                  </a:cubicBezTo>
                  <a:cubicBezTo>
                    <a:pt x="434" y="377"/>
                    <a:pt x="432" y="375"/>
                    <a:pt x="430" y="373"/>
                  </a:cubicBezTo>
                  <a:cubicBezTo>
                    <a:pt x="427" y="371"/>
                    <a:pt x="425" y="369"/>
                    <a:pt x="423" y="366"/>
                  </a:cubicBezTo>
                  <a:cubicBezTo>
                    <a:pt x="422" y="365"/>
                    <a:pt x="421" y="364"/>
                    <a:pt x="420" y="363"/>
                  </a:cubicBezTo>
                  <a:cubicBezTo>
                    <a:pt x="415" y="355"/>
                    <a:pt x="411" y="351"/>
                    <a:pt x="410" y="340"/>
                  </a:cubicBezTo>
                  <a:cubicBezTo>
                    <a:pt x="410" y="336"/>
                    <a:pt x="410" y="332"/>
                    <a:pt x="409" y="328"/>
                  </a:cubicBezTo>
                  <a:cubicBezTo>
                    <a:pt x="409" y="327"/>
                    <a:pt x="408" y="325"/>
                    <a:pt x="408" y="324"/>
                  </a:cubicBezTo>
                  <a:cubicBezTo>
                    <a:pt x="401" y="278"/>
                    <a:pt x="395" y="232"/>
                    <a:pt x="390" y="194"/>
                  </a:cubicBezTo>
                  <a:cubicBezTo>
                    <a:pt x="384" y="194"/>
                    <a:pt x="384" y="194"/>
                    <a:pt x="384" y="194"/>
                  </a:cubicBezTo>
                  <a:cubicBezTo>
                    <a:pt x="384" y="194"/>
                    <a:pt x="384" y="194"/>
                    <a:pt x="384" y="194"/>
                  </a:cubicBezTo>
                  <a:cubicBezTo>
                    <a:pt x="384" y="195"/>
                    <a:pt x="384" y="195"/>
                    <a:pt x="384" y="196"/>
                  </a:cubicBezTo>
                  <a:cubicBezTo>
                    <a:pt x="384" y="197"/>
                    <a:pt x="384" y="197"/>
                    <a:pt x="384" y="197"/>
                  </a:cubicBezTo>
                  <a:cubicBezTo>
                    <a:pt x="384" y="198"/>
                    <a:pt x="383" y="200"/>
                    <a:pt x="383" y="201"/>
                  </a:cubicBezTo>
                  <a:cubicBezTo>
                    <a:pt x="382" y="200"/>
                    <a:pt x="382" y="200"/>
                    <a:pt x="381" y="199"/>
                  </a:cubicBezTo>
                  <a:cubicBezTo>
                    <a:pt x="380" y="199"/>
                    <a:pt x="380" y="198"/>
                    <a:pt x="380" y="198"/>
                  </a:cubicBezTo>
                  <a:cubicBezTo>
                    <a:pt x="377" y="196"/>
                    <a:pt x="374" y="195"/>
                    <a:pt x="371" y="195"/>
                  </a:cubicBezTo>
                  <a:cubicBezTo>
                    <a:pt x="369" y="195"/>
                    <a:pt x="368" y="195"/>
                    <a:pt x="366" y="196"/>
                  </a:cubicBezTo>
                  <a:cubicBezTo>
                    <a:pt x="366" y="195"/>
                    <a:pt x="366" y="195"/>
                    <a:pt x="366" y="195"/>
                  </a:cubicBezTo>
                  <a:cubicBezTo>
                    <a:pt x="367" y="192"/>
                    <a:pt x="367" y="189"/>
                    <a:pt x="364" y="185"/>
                  </a:cubicBezTo>
                  <a:cubicBezTo>
                    <a:pt x="362" y="181"/>
                    <a:pt x="358" y="178"/>
                    <a:pt x="354" y="176"/>
                  </a:cubicBezTo>
                  <a:cubicBezTo>
                    <a:pt x="350" y="173"/>
                    <a:pt x="345" y="170"/>
                    <a:pt x="341" y="168"/>
                  </a:cubicBezTo>
                  <a:cubicBezTo>
                    <a:pt x="340" y="167"/>
                    <a:pt x="340" y="167"/>
                    <a:pt x="340" y="167"/>
                  </a:cubicBezTo>
                  <a:cubicBezTo>
                    <a:pt x="339" y="167"/>
                    <a:pt x="338" y="166"/>
                    <a:pt x="337" y="166"/>
                  </a:cubicBezTo>
                  <a:cubicBezTo>
                    <a:pt x="337" y="166"/>
                    <a:pt x="336" y="166"/>
                    <a:pt x="336" y="166"/>
                  </a:cubicBezTo>
                  <a:cubicBezTo>
                    <a:pt x="336" y="166"/>
                    <a:pt x="337" y="165"/>
                    <a:pt x="337" y="165"/>
                  </a:cubicBezTo>
                  <a:cubicBezTo>
                    <a:pt x="339" y="158"/>
                    <a:pt x="332" y="153"/>
                    <a:pt x="327" y="149"/>
                  </a:cubicBezTo>
                  <a:cubicBezTo>
                    <a:pt x="326" y="148"/>
                    <a:pt x="325" y="148"/>
                    <a:pt x="325" y="147"/>
                  </a:cubicBezTo>
                  <a:cubicBezTo>
                    <a:pt x="324" y="146"/>
                    <a:pt x="322" y="145"/>
                    <a:pt x="321" y="144"/>
                  </a:cubicBezTo>
                  <a:cubicBezTo>
                    <a:pt x="320" y="144"/>
                    <a:pt x="320" y="144"/>
                    <a:pt x="320" y="144"/>
                  </a:cubicBezTo>
                  <a:cubicBezTo>
                    <a:pt x="320" y="143"/>
                    <a:pt x="319" y="143"/>
                    <a:pt x="318" y="142"/>
                  </a:cubicBezTo>
                  <a:cubicBezTo>
                    <a:pt x="318" y="142"/>
                    <a:pt x="317" y="142"/>
                    <a:pt x="317" y="141"/>
                  </a:cubicBezTo>
                  <a:cubicBezTo>
                    <a:pt x="317" y="141"/>
                    <a:pt x="317" y="140"/>
                    <a:pt x="316" y="140"/>
                  </a:cubicBezTo>
                  <a:cubicBezTo>
                    <a:pt x="316" y="138"/>
                    <a:pt x="316" y="138"/>
                    <a:pt x="316" y="138"/>
                  </a:cubicBezTo>
                  <a:cubicBezTo>
                    <a:pt x="316" y="136"/>
                    <a:pt x="316" y="135"/>
                    <a:pt x="316" y="133"/>
                  </a:cubicBezTo>
                  <a:cubicBezTo>
                    <a:pt x="316" y="133"/>
                    <a:pt x="316" y="133"/>
                    <a:pt x="316" y="132"/>
                  </a:cubicBezTo>
                  <a:cubicBezTo>
                    <a:pt x="316" y="131"/>
                    <a:pt x="317" y="131"/>
                    <a:pt x="317" y="130"/>
                  </a:cubicBezTo>
                  <a:cubicBezTo>
                    <a:pt x="318" y="127"/>
                    <a:pt x="318" y="123"/>
                    <a:pt x="317" y="120"/>
                  </a:cubicBezTo>
                  <a:cubicBezTo>
                    <a:pt x="317" y="120"/>
                    <a:pt x="316" y="119"/>
                    <a:pt x="316" y="119"/>
                  </a:cubicBezTo>
                  <a:cubicBezTo>
                    <a:pt x="316" y="118"/>
                    <a:pt x="316" y="118"/>
                    <a:pt x="316" y="118"/>
                  </a:cubicBezTo>
                  <a:cubicBezTo>
                    <a:pt x="315" y="117"/>
                    <a:pt x="315" y="116"/>
                    <a:pt x="315" y="115"/>
                  </a:cubicBezTo>
                  <a:cubicBezTo>
                    <a:pt x="315" y="115"/>
                    <a:pt x="315" y="115"/>
                    <a:pt x="315" y="115"/>
                  </a:cubicBezTo>
                  <a:cubicBezTo>
                    <a:pt x="315" y="113"/>
                    <a:pt x="315" y="111"/>
                    <a:pt x="315" y="109"/>
                  </a:cubicBezTo>
                  <a:cubicBezTo>
                    <a:pt x="315" y="108"/>
                    <a:pt x="315" y="106"/>
                    <a:pt x="315" y="104"/>
                  </a:cubicBezTo>
                  <a:cubicBezTo>
                    <a:pt x="315" y="102"/>
                    <a:pt x="315" y="100"/>
                    <a:pt x="314" y="98"/>
                  </a:cubicBezTo>
                  <a:cubicBezTo>
                    <a:pt x="313" y="96"/>
                    <a:pt x="311" y="95"/>
                    <a:pt x="310" y="95"/>
                  </a:cubicBezTo>
                  <a:cubicBezTo>
                    <a:pt x="309" y="95"/>
                    <a:pt x="309" y="95"/>
                    <a:pt x="309" y="95"/>
                  </a:cubicBezTo>
                  <a:cubicBezTo>
                    <a:pt x="307" y="94"/>
                    <a:pt x="307" y="89"/>
                    <a:pt x="307" y="87"/>
                  </a:cubicBezTo>
                  <a:cubicBezTo>
                    <a:pt x="307" y="85"/>
                    <a:pt x="307" y="84"/>
                    <a:pt x="307" y="84"/>
                  </a:cubicBezTo>
                  <a:cubicBezTo>
                    <a:pt x="307" y="82"/>
                    <a:pt x="308" y="79"/>
                    <a:pt x="308" y="77"/>
                  </a:cubicBezTo>
                  <a:cubicBezTo>
                    <a:pt x="309" y="76"/>
                    <a:pt x="309" y="74"/>
                    <a:pt x="309" y="73"/>
                  </a:cubicBezTo>
                  <a:cubicBezTo>
                    <a:pt x="310" y="70"/>
                    <a:pt x="309" y="68"/>
                    <a:pt x="309" y="67"/>
                  </a:cubicBezTo>
                  <a:cubicBezTo>
                    <a:pt x="308" y="66"/>
                    <a:pt x="308" y="65"/>
                    <a:pt x="308" y="64"/>
                  </a:cubicBezTo>
                  <a:cubicBezTo>
                    <a:pt x="308" y="64"/>
                    <a:pt x="308" y="64"/>
                    <a:pt x="308" y="64"/>
                  </a:cubicBezTo>
                  <a:cubicBezTo>
                    <a:pt x="308" y="62"/>
                    <a:pt x="307" y="59"/>
                    <a:pt x="305" y="57"/>
                  </a:cubicBezTo>
                  <a:cubicBezTo>
                    <a:pt x="302" y="55"/>
                    <a:pt x="299" y="54"/>
                    <a:pt x="296" y="54"/>
                  </a:cubicBezTo>
                  <a:cubicBezTo>
                    <a:pt x="295" y="54"/>
                    <a:pt x="294" y="54"/>
                    <a:pt x="292" y="55"/>
                  </a:cubicBezTo>
                  <a:cubicBezTo>
                    <a:pt x="292" y="55"/>
                    <a:pt x="291" y="55"/>
                    <a:pt x="291" y="55"/>
                  </a:cubicBezTo>
                  <a:cubicBezTo>
                    <a:pt x="289" y="55"/>
                    <a:pt x="288" y="55"/>
                    <a:pt x="287" y="54"/>
                  </a:cubicBezTo>
                  <a:cubicBezTo>
                    <a:pt x="286" y="54"/>
                    <a:pt x="286" y="54"/>
                    <a:pt x="285" y="54"/>
                  </a:cubicBezTo>
                  <a:cubicBezTo>
                    <a:pt x="284" y="54"/>
                    <a:pt x="283" y="54"/>
                    <a:pt x="282" y="54"/>
                  </a:cubicBezTo>
                  <a:cubicBezTo>
                    <a:pt x="281" y="54"/>
                    <a:pt x="280" y="54"/>
                    <a:pt x="279" y="54"/>
                  </a:cubicBezTo>
                  <a:cubicBezTo>
                    <a:pt x="278" y="54"/>
                    <a:pt x="276" y="54"/>
                    <a:pt x="276" y="54"/>
                  </a:cubicBezTo>
                  <a:cubicBezTo>
                    <a:pt x="275" y="54"/>
                    <a:pt x="275" y="54"/>
                    <a:pt x="275" y="53"/>
                  </a:cubicBezTo>
                  <a:cubicBezTo>
                    <a:pt x="274" y="53"/>
                    <a:pt x="273" y="52"/>
                    <a:pt x="272" y="52"/>
                  </a:cubicBezTo>
                  <a:cubicBezTo>
                    <a:pt x="271" y="51"/>
                    <a:pt x="270" y="51"/>
                    <a:pt x="269" y="51"/>
                  </a:cubicBezTo>
                  <a:cubicBezTo>
                    <a:pt x="267" y="51"/>
                    <a:pt x="266" y="51"/>
                    <a:pt x="265" y="52"/>
                  </a:cubicBezTo>
                  <a:cubicBezTo>
                    <a:pt x="262" y="52"/>
                    <a:pt x="259" y="53"/>
                    <a:pt x="256" y="54"/>
                  </a:cubicBezTo>
                  <a:cubicBezTo>
                    <a:pt x="254" y="55"/>
                    <a:pt x="252" y="55"/>
                    <a:pt x="250" y="56"/>
                  </a:cubicBezTo>
                  <a:cubicBezTo>
                    <a:pt x="249" y="56"/>
                    <a:pt x="247" y="56"/>
                    <a:pt x="246" y="56"/>
                  </a:cubicBezTo>
                  <a:cubicBezTo>
                    <a:pt x="246" y="56"/>
                    <a:pt x="246" y="56"/>
                    <a:pt x="246" y="56"/>
                  </a:cubicBezTo>
                  <a:cubicBezTo>
                    <a:pt x="246" y="56"/>
                    <a:pt x="246" y="56"/>
                    <a:pt x="246" y="56"/>
                  </a:cubicBezTo>
                  <a:cubicBezTo>
                    <a:pt x="245" y="56"/>
                    <a:pt x="245" y="56"/>
                    <a:pt x="245" y="56"/>
                  </a:cubicBezTo>
                  <a:cubicBezTo>
                    <a:pt x="245" y="55"/>
                    <a:pt x="244" y="54"/>
                    <a:pt x="243" y="53"/>
                  </a:cubicBezTo>
                  <a:cubicBezTo>
                    <a:pt x="242" y="53"/>
                    <a:pt x="241" y="52"/>
                    <a:pt x="239" y="52"/>
                  </a:cubicBezTo>
                  <a:cubicBezTo>
                    <a:pt x="239" y="51"/>
                    <a:pt x="239" y="51"/>
                    <a:pt x="238" y="51"/>
                  </a:cubicBezTo>
                  <a:cubicBezTo>
                    <a:pt x="238" y="51"/>
                    <a:pt x="238" y="51"/>
                    <a:pt x="237" y="51"/>
                  </a:cubicBezTo>
                  <a:cubicBezTo>
                    <a:pt x="237" y="51"/>
                    <a:pt x="237" y="51"/>
                    <a:pt x="237" y="51"/>
                  </a:cubicBezTo>
                  <a:cubicBezTo>
                    <a:pt x="237" y="50"/>
                    <a:pt x="237" y="48"/>
                    <a:pt x="235" y="46"/>
                  </a:cubicBezTo>
                  <a:cubicBezTo>
                    <a:pt x="233" y="45"/>
                    <a:pt x="230" y="43"/>
                    <a:pt x="227" y="42"/>
                  </a:cubicBezTo>
                  <a:cubicBezTo>
                    <a:pt x="227" y="42"/>
                    <a:pt x="226" y="42"/>
                    <a:pt x="226" y="42"/>
                  </a:cubicBezTo>
                  <a:cubicBezTo>
                    <a:pt x="225" y="41"/>
                    <a:pt x="225" y="41"/>
                    <a:pt x="224" y="41"/>
                  </a:cubicBezTo>
                  <a:cubicBezTo>
                    <a:pt x="224" y="41"/>
                    <a:pt x="224" y="41"/>
                    <a:pt x="224" y="41"/>
                  </a:cubicBezTo>
                  <a:cubicBezTo>
                    <a:pt x="223" y="40"/>
                    <a:pt x="222" y="39"/>
                    <a:pt x="221" y="39"/>
                  </a:cubicBezTo>
                  <a:cubicBezTo>
                    <a:pt x="217" y="38"/>
                    <a:pt x="213" y="37"/>
                    <a:pt x="209" y="36"/>
                  </a:cubicBezTo>
                  <a:cubicBezTo>
                    <a:pt x="208" y="36"/>
                    <a:pt x="208" y="36"/>
                    <a:pt x="208" y="36"/>
                  </a:cubicBezTo>
                  <a:cubicBezTo>
                    <a:pt x="207" y="35"/>
                    <a:pt x="207" y="35"/>
                    <a:pt x="207" y="35"/>
                  </a:cubicBezTo>
                  <a:cubicBezTo>
                    <a:pt x="205" y="34"/>
                    <a:pt x="204" y="33"/>
                    <a:pt x="201" y="32"/>
                  </a:cubicBezTo>
                  <a:cubicBezTo>
                    <a:pt x="200" y="31"/>
                    <a:pt x="199" y="31"/>
                    <a:pt x="198" y="31"/>
                  </a:cubicBezTo>
                  <a:cubicBezTo>
                    <a:pt x="197" y="31"/>
                    <a:pt x="196" y="31"/>
                    <a:pt x="196" y="31"/>
                  </a:cubicBezTo>
                  <a:cubicBezTo>
                    <a:pt x="195" y="31"/>
                    <a:pt x="194" y="31"/>
                    <a:pt x="193" y="30"/>
                  </a:cubicBezTo>
                  <a:cubicBezTo>
                    <a:pt x="192" y="30"/>
                    <a:pt x="192" y="29"/>
                    <a:pt x="191" y="29"/>
                  </a:cubicBezTo>
                  <a:cubicBezTo>
                    <a:pt x="190" y="29"/>
                    <a:pt x="190" y="29"/>
                    <a:pt x="190" y="29"/>
                  </a:cubicBezTo>
                  <a:cubicBezTo>
                    <a:pt x="190" y="28"/>
                    <a:pt x="187" y="27"/>
                    <a:pt x="187" y="26"/>
                  </a:cubicBezTo>
                  <a:cubicBezTo>
                    <a:pt x="186" y="24"/>
                    <a:pt x="185" y="22"/>
                    <a:pt x="184" y="19"/>
                  </a:cubicBezTo>
                  <a:cubicBezTo>
                    <a:pt x="182" y="17"/>
                    <a:pt x="180" y="15"/>
                    <a:pt x="177" y="13"/>
                  </a:cubicBezTo>
                  <a:cubicBezTo>
                    <a:pt x="177" y="13"/>
                    <a:pt x="176" y="12"/>
                    <a:pt x="175" y="12"/>
                  </a:cubicBezTo>
                  <a:cubicBezTo>
                    <a:pt x="174" y="12"/>
                    <a:pt x="173" y="11"/>
                    <a:pt x="172" y="11"/>
                  </a:cubicBezTo>
                  <a:cubicBezTo>
                    <a:pt x="172" y="10"/>
                    <a:pt x="171" y="9"/>
                    <a:pt x="170" y="8"/>
                  </a:cubicBezTo>
                  <a:cubicBezTo>
                    <a:pt x="169" y="7"/>
                    <a:pt x="167" y="6"/>
                    <a:pt x="166" y="5"/>
                  </a:cubicBezTo>
                  <a:cubicBezTo>
                    <a:pt x="165" y="4"/>
                    <a:pt x="163" y="2"/>
                    <a:pt x="161" y="1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37" y="23"/>
                    <a:pt x="37" y="133"/>
                    <a:pt x="12" y="151"/>
                  </a:cubicBezTo>
                  <a:cubicBezTo>
                    <a:pt x="11" y="152"/>
                    <a:pt x="11" y="152"/>
                    <a:pt x="11" y="152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3" y="289"/>
                    <a:pt x="3" y="289"/>
                    <a:pt x="3" y="289"/>
                  </a:cubicBezTo>
                  <a:cubicBezTo>
                    <a:pt x="4" y="289"/>
                    <a:pt x="4" y="289"/>
                    <a:pt x="5" y="289"/>
                  </a:cubicBezTo>
                  <a:cubicBezTo>
                    <a:pt x="5" y="289"/>
                    <a:pt x="6" y="289"/>
                    <a:pt x="6" y="292"/>
                  </a:cubicBezTo>
                  <a:cubicBezTo>
                    <a:pt x="6" y="292"/>
                    <a:pt x="6" y="293"/>
                    <a:pt x="6" y="293"/>
                  </a:cubicBezTo>
                  <a:cubicBezTo>
                    <a:pt x="6" y="295"/>
                    <a:pt x="6" y="296"/>
                    <a:pt x="6" y="297"/>
                  </a:cubicBezTo>
                  <a:cubicBezTo>
                    <a:pt x="7" y="298"/>
                    <a:pt x="7" y="300"/>
                    <a:pt x="7" y="301"/>
                  </a:cubicBezTo>
                  <a:cubicBezTo>
                    <a:pt x="7" y="307"/>
                    <a:pt x="7" y="315"/>
                    <a:pt x="15" y="319"/>
                  </a:cubicBezTo>
                  <a:cubicBezTo>
                    <a:pt x="22" y="322"/>
                    <a:pt x="30" y="324"/>
                    <a:pt x="38" y="324"/>
                  </a:cubicBezTo>
                  <a:cubicBezTo>
                    <a:pt x="38" y="324"/>
                    <a:pt x="39" y="324"/>
                    <a:pt x="40" y="324"/>
                  </a:cubicBezTo>
                  <a:cubicBezTo>
                    <a:pt x="42" y="324"/>
                    <a:pt x="45" y="323"/>
                    <a:pt x="47" y="322"/>
                  </a:cubicBezTo>
                  <a:cubicBezTo>
                    <a:pt x="49" y="321"/>
                    <a:pt x="50" y="320"/>
                    <a:pt x="52" y="320"/>
                  </a:cubicBezTo>
                  <a:cubicBezTo>
                    <a:pt x="53" y="320"/>
                    <a:pt x="54" y="320"/>
                    <a:pt x="54" y="321"/>
                  </a:cubicBezTo>
                  <a:cubicBezTo>
                    <a:pt x="57" y="322"/>
                    <a:pt x="62" y="327"/>
                    <a:pt x="64" y="331"/>
                  </a:cubicBezTo>
                  <a:cubicBezTo>
                    <a:pt x="64" y="331"/>
                    <a:pt x="64" y="331"/>
                    <a:pt x="64" y="331"/>
                  </a:cubicBezTo>
                  <a:cubicBezTo>
                    <a:pt x="64" y="333"/>
                    <a:pt x="65" y="335"/>
                    <a:pt x="69" y="337"/>
                  </a:cubicBezTo>
                  <a:cubicBezTo>
                    <a:pt x="69" y="337"/>
                    <a:pt x="70" y="337"/>
                    <a:pt x="70" y="337"/>
                  </a:cubicBezTo>
                  <a:cubicBezTo>
                    <a:pt x="72" y="337"/>
                    <a:pt x="73" y="337"/>
                    <a:pt x="74" y="336"/>
                  </a:cubicBezTo>
                  <a:cubicBezTo>
                    <a:pt x="75" y="336"/>
                    <a:pt x="76" y="335"/>
                    <a:pt x="77" y="335"/>
                  </a:cubicBezTo>
                  <a:cubicBezTo>
                    <a:pt x="78" y="336"/>
                    <a:pt x="80" y="337"/>
                    <a:pt x="82" y="340"/>
                  </a:cubicBezTo>
                  <a:cubicBezTo>
                    <a:pt x="83" y="342"/>
                    <a:pt x="85" y="344"/>
                    <a:pt x="87" y="346"/>
                  </a:cubicBezTo>
                  <a:cubicBezTo>
                    <a:pt x="89" y="347"/>
                    <a:pt x="91" y="348"/>
                    <a:pt x="93" y="348"/>
                  </a:cubicBezTo>
                  <a:cubicBezTo>
                    <a:pt x="98" y="348"/>
                    <a:pt x="101" y="345"/>
                    <a:pt x="104" y="343"/>
                  </a:cubicBezTo>
                  <a:cubicBezTo>
                    <a:pt x="107" y="342"/>
                    <a:pt x="108" y="341"/>
                    <a:pt x="110" y="341"/>
                  </a:cubicBezTo>
                  <a:cubicBezTo>
                    <a:pt x="111" y="341"/>
                    <a:pt x="113" y="342"/>
                    <a:pt x="115" y="342"/>
                  </a:cubicBezTo>
                  <a:cubicBezTo>
                    <a:pt x="116" y="343"/>
                    <a:pt x="118" y="344"/>
                    <a:pt x="121" y="345"/>
                  </a:cubicBezTo>
                  <a:cubicBezTo>
                    <a:pt x="127" y="348"/>
                    <a:pt x="136" y="352"/>
                    <a:pt x="142" y="352"/>
                  </a:cubicBezTo>
                  <a:cubicBezTo>
                    <a:pt x="148" y="352"/>
                    <a:pt x="150" y="349"/>
                    <a:pt x="152" y="347"/>
                  </a:cubicBezTo>
                  <a:cubicBezTo>
                    <a:pt x="153" y="345"/>
                    <a:pt x="154" y="342"/>
                    <a:pt x="154" y="339"/>
                  </a:cubicBezTo>
                  <a:cubicBezTo>
                    <a:pt x="155" y="336"/>
                    <a:pt x="155" y="334"/>
                    <a:pt x="157" y="333"/>
                  </a:cubicBezTo>
                  <a:cubicBezTo>
                    <a:pt x="158" y="333"/>
                    <a:pt x="159" y="332"/>
                    <a:pt x="160" y="332"/>
                  </a:cubicBezTo>
                  <a:cubicBezTo>
                    <a:pt x="161" y="331"/>
                    <a:pt x="163" y="330"/>
                    <a:pt x="165" y="329"/>
                  </a:cubicBezTo>
                  <a:cubicBezTo>
                    <a:pt x="166" y="328"/>
                    <a:pt x="166" y="328"/>
                    <a:pt x="166" y="328"/>
                  </a:cubicBezTo>
                  <a:cubicBezTo>
                    <a:pt x="168" y="326"/>
                    <a:pt x="170" y="324"/>
                    <a:pt x="172" y="322"/>
                  </a:cubicBezTo>
                  <a:cubicBezTo>
                    <a:pt x="173" y="321"/>
                    <a:pt x="173" y="319"/>
                    <a:pt x="174" y="318"/>
                  </a:cubicBezTo>
                  <a:cubicBezTo>
                    <a:pt x="177" y="313"/>
                    <a:pt x="179" y="310"/>
                    <a:pt x="182" y="310"/>
                  </a:cubicBezTo>
                  <a:cubicBezTo>
                    <a:pt x="183" y="310"/>
                    <a:pt x="184" y="311"/>
                    <a:pt x="186" y="311"/>
                  </a:cubicBezTo>
                  <a:cubicBezTo>
                    <a:pt x="187" y="312"/>
                    <a:pt x="188" y="313"/>
                    <a:pt x="189" y="313"/>
                  </a:cubicBezTo>
                  <a:cubicBezTo>
                    <a:pt x="193" y="314"/>
                    <a:pt x="197" y="315"/>
                    <a:pt x="201" y="316"/>
                  </a:cubicBezTo>
                  <a:cubicBezTo>
                    <a:pt x="202" y="316"/>
                    <a:pt x="202" y="316"/>
                    <a:pt x="202" y="316"/>
                  </a:cubicBezTo>
                  <a:cubicBezTo>
                    <a:pt x="204" y="316"/>
                    <a:pt x="206" y="316"/>
                    <a:pt x="208" y="316"/>
                  </a:cubicBezTo>
                  <a:cubicBezTo>
                    <a:pt x="209" y="316"/>
                    <a:pt x="210" y="316"/>
                    <a:pt x="212" y="316"/>
                  </a:cubicBezTo>
                  <a:cubicBezTo>
                    <a:pt x="213" y="316"/>
                    <a:pt x="214" y="316"/>
                    <a:pt x="215" y="316"/>
                  </a:cubicBezTo>
                  <a:cubicBezTo>
                    <a:pt x="216" y="316"/>
                    <a:pt x="218" y="316"/>
                    <a:pt x="219" y="316"/>
                  </a:cubicBezTo>
                  <a:cubicBezTo>
                    <a:pt x="223" y="317"/>
                    <a:pt x="224" y="319"/>
                    <a:pt x="227" y="325"/>
                  </a:cubicBezTo>
                  <a:cubicBezTo>
                    <a:pt x="227" y="325"/>
                    <a:pt x="227" y="325"/>
                    <a:pt x="227" y="325"/>
                  </a:cubicBezTo>
                  <a:cubicBezTo>
                    <a:pt x="227" y="326"/>
                    <a:pt x="227" y="327"/>
                    <a:pt x="227" y="328"/>
                  </a:cubicBezTo>
                  <a:cubicBezTo>
                    <a:pt x="228" y="329"/>
                    <a:pt x="228" y="330"/>
                    <a:pt x="228" y="332"/>
                  </a:cubicBezTo>
                  <a:cubicBezTo>
                    <a:pt x="229" y="333"/>
                    <a:pt x="230" y="334"/>
                    <a:pt x="231" y="336"/>
                  </a:cubicBezTo>
                  <a:cubicBezTo>
                    <a:pt x="231" y="336"/>
                    <a:pt x="232" y="337"/>
                    <a:pt x="232" y="337"/>
                  </a:cubicBezTo>
                  <a:cubicBezTo>
                    <a:pt x="235" y="341"/>
                    <a:pt x="238" y="346"/>
                    <a:pt x="243" y="348"/>
                  </a:cubicBezTo>
                  <a:cubicBezTo>
                    <a:pt x="245" y="349"/>
                    <a:pt x="247" y="349"/>
                    <a:pt x="250" y="349"/>
                  </a:cubicBezTo>
                  <a:cubicBezTo>
                    <a:pt x="252" y="349"/>
                    <a:pt x="254" y="349"/>
                    <a:pt x="257" y="348"/>
                  </a:cubicBezTo>
                  <a:cubicBezTo>
                    <a:pt x="258" y="348"/>
                    <a:pt x="258" y="348"/>
                    <a:pt x="259" y="347"/>
                  </a:cubicBezTo>
                  <a:cubicBezTo>
                    <a:pt x="261" y="346"/>
                    <a:pt x="264" y="345"/>
                    <a:pt x="265" y="345"/>
                  </a:cubicBezTo>
                  <a:cubicBezTo>
                    <a:pt x="265" y="345"/>
                    <a:pt x="266" y="345"/>
                    <a:pt x="266" y="346"/>
                  </a:cubicBezTo>
                  <a:cubicBezTo>
                    <a:pt x="266" y="346"/>
                    <a:pt x="266" y="346"/>
                    <a:pt x="266" y="346"/>
                  </a:cubicBezTo>
                  <a:cubicBezTo>
                    <a:pt x="265" y="347"/>
                    <a:pt x="265" y="347"/>
                    <a:pt x="265" y="348"/>
                  </a:cubicBezTo>
                  <a:cubicBezTo>
                    <a:pt x="263" y="353"/>
                    <a:pt x="264" y="358"/>
                    <a:pt x="266" y="363"/>
                  </a:cubicBezTo>
                  <a:cubicBezTo>
                    <a:pt x="267" y="366"/>
                    <a:pt x="270" y="367"/>
                    <a:pt x="272" y="368"/>
                  </a:cubicBezTo>
                  <a:cubicBezTo>
                    <a:pt x="274" y="369"/>
                    <a:pt x="275" y="369"/>
                    <a:pt x="275" y="370"/>
                  </a:cubicBezTo>
                  <a:cubicBezTo>
                    <a:pt x="275" y="371"/>
                    <a:pt x="275" y="371"/>
                    <a:pt x="274" y="373"/>
                  </a:cubicBezTo>
                  <a:cubicBezTo>
                    <a:pt x="272" y="375"/>
                    <a:pt x="270" y="378"/>
                    <a:pt x="272" y="382"/>
                  </a:cubicBezTo>
                  <a:cubicBezTo>
                    <a:pt x="273" y="386"/>
                    <a:pt x="277" y="386"/>
                    <a:pt x="279" y="387"/>
                  </a:cubicBezTo>
                  <a:cubicBezTo>
                    <a:pt x="280" y="387"/>
                    <a:pt x="282" y="387"/>
                    <a:pt x="282" y="387"/>
                  </a:cubicBezTo>
                  <a:cubicBezTo>
                    <a:pt x="282" y="387"/>
                    <a:pt x="282" y="388"/>
                    <a:pt x="282" y="389"/>
                  </a:cubicBezTo>
                  <a:cubicBezTo>
                    <a:pt x="282" y="390"/>
                    <a:pt x="281" y="391"/>
                    <a:pt x="281" y="392"/>
                  </a:cubicBezTo>
                  <a:cubicBezTo>
                    <a:pt x="282" y="398"/>
                    <a:pt x="285" y="403"/>
                    <a:pt x="292" y="406"/>
                  </a:cubicBezTo>
                  <a:cubicBezTo>
                    <a:pt x="302" y="410"/>
                    <a:pt x="312" y="411"/>
                    <a:pt x="322" y="413"/>
                  </a:cubicBezTo>
                  <a:cubicBezTo>
                    <a:pt x="325" y="413"/>
                    <a:pt x="325" y="413"/>
                    <a:pt x="325" y="413"/>
                  </a:cubicBezTo>
                  <a:cubicBezTo>
                    <a:pt x="325" y="413"/>
                    <a:pt x="326" y="413"/>
                    <a:pt x="327" y="413"/>
                  </a:cubicBezTo>
                  <a:cubicBezTo>
                    <a:pt x="331" y="413"/>
                    <a:pt x="335" y="412"/>
                    <a:pt x="339" y="411"/>
                  </a:cubicBezTo>
                  <a:cubicBezTo>
                    <a:pt x="342" y="409"/>
                    <a:pt x="345" y="408"/>
                    <a:pt x="348" y="408"/>
                  </a:cubicBezTo>
                  <a:cubicBezTo>
                    <a:pt x="349" y="408"/>
                    <a:pt x="349" y="408"/>
                    <a:pt x="350" y="408"/>
                  </a:cubicBezTo>
                  <a:cubicBezTo>
                    <a:pt x="355" y="409"/>
                    <a:pt x="361" y="411"/>
                    <a:pt x="366" y="413"/>
                  </a:cubicBezTo>
                  <a:cubicBezTo>
                    <a:pt x="372" y="416"/>
                    <a:pt x="378" y="418"/>
                    <a:pt x="385" y="418"/>
                  </a:cubicBezTo>
                  <a:cubicBezTo>
                    <a:pt x="385" y="418"/>
                    <a:pt x="386" y="418"/>
                    <a:pt x="387" y="418"/>
                  </a:cubicBezTo>
                  <a:cubicBezTo>
                    <a:pt x="388" y="418"/>
                    <a:pt x="389" y="417"/>
                    <a:pt x="390" y="417"/>
                  </a:cubicBezTo>
                  <a:cubicBezTo>
                    <a:pt x="391" y="417"/>
                    <a:pt x="391" y="417"/>
                    <a:pt x="391" y="417"/>
                  </a:cubicBezTo>
                  <a:cubicBezTo>
                    <a:pt x="391" y="417"/>
                    <a:pt x="391" y="417"/>
                    <a:pt x="392" y="417"/>
                  </a:cubicBezTo>
                  <a:cubicBezTo>
                    <a:pt x="392" y="418"/>
                    <a:pt x="393" y="419"/>
                    <a:pt x="393" y="421"/>
                  </a:cubicBezTo>
                  <a:cubicBezTo>
                    <a:pt x="393" y="422"/>
                    <a:pt x="393" y="425"/>
                    <a:pt x="394" y="426"/>
                  </a:cubicBezTo>
                  <a:cubicBezTo>
                    <a:pt x="396" y="428"/>
                    <a:pt x="399" y="433"/>
                    <a:pt x="403" y="435"/>
                  </a:cubicBezTo>
                  <a:cubicBezTo>
                    <a:pt x="405" y="436"/>
                    <a:pt x="406" y="437"/>
                    <a:pt x="408" y="437"/>
                  </a:cubicBezTo>
                  <a:cubicBezTo>
                    <a:pt x="410" y="437"/>
                    <a:pt x="411" y="438"/>
                    <a:pt x="412" y="439"/>
                  </a:cubicBezTo>
                  <a:cubicBezTo>
                    <a:pt x="414" y="441"/>
                    <a:pt x="416" y="445"/>
                    <a:pt x="415" y="448"/>
                  </a:cubicBezTo>
                  <a:cubicBezTo>
                    <a:pt x="415" y="448"/>
                    <a:pt x="415" y="448"/>
                    <a:pt x="415" y="448"/>
                  </a:cubicBezTo>
                  <a:cubicBezTo>
                    <a:pt x="414" y="448"/>
                    <a:pt x="411" y="449"/>
                    <a:pt x="410" y="452"/>
                  </a:cubicBezTo>
                  <a:cubicBezTo>
                    <a:pt x="409" y="455"/>
                    <a:pt x="411" y="457"/>
                    <a:pt x="413" y="458"/>
                  </a:cubicBezTo>
                  <a:cubicBezTo>
                    <a:pt x="413" y="458"/>
                    <a:pt x="413" y="459"/>
                    <a:pt x="413" y="459"/>
                  </a:cubicBezTo>
                  <a:cubicBezTo>
                    <a:pt x="413" y="459"/>
                    <a:pt x="414" y="460"/>
                    <a:pt x="414" y="460"/>
                  </a:cubicBezTo>
                  <a:cubicBezTo>
                    <a:pt x="414" y="460"/>
                    <a:pt x="414" y="461"/>
                    <a:pt x="414" y="461"/>
                  </a:cubicBezTo>
                  <a:cubicBezTo>
                    <a:pt x="414" y="461"/>
                    <a:pt x="414" y="461"/>
                    <a:pt x="414" y="462"/>
                  </a:cubicBezTo>
                  <a:cubicBezTo>
                    <a:pt x="414" y="464"/>
                    <a:pt x="414" y="464"/>
                    <a:pt x="413" y="464"/>
                  </a:cubicBezTo>
                  <a:cubicBezTo>
                    <a:pt x="412" y="464"/>
                    <a:pt x="409" y="462"/>
                    <a:pt x="407" y="461"/>
                  </a:cubicBezTo>
                  <a:cubicBezTo>
                    <a:pt x="404" y="460"/>
                    <a:pt x="401" y="458"/>
                    <a:pt x="398" y="458"/>
                  </a:cubicBezTo>
                  <a:cubicBezTo>
                    <a:pt x="396" y="458"/>
                    <a:pt x="396" y="458"/>
                    <a:pt x="396" y="458"/>
                  </a:cubicBezTo>
                  <a:cubicBezTo>
                    <a:pt x="394" y="458"/>
                    <a:pt x="393" y="458"/>
                    <a:pt x="393" y="457"/>
                  </a:cubicBezTo>
                  <a:cubicBezTo>
                    <a:pt x="392" y="456"/>
                    <a:pt x="391" y="455"/>
                    <a:pt x="391" y="454"/>
                  </a:cubicBezTo>
                  <a:cubicBezTo>
                    <a:pt x="390" y="452"/>
                    <a:pt x="388" y="450"/>
                    <a:pt x="386" y="448"/>
                  </a:cubicBezTo>
                  <a:cubicBezTo>
                    <a:pt x="385" y="448"/>
                    <a:pt x="385" y="447"/>
                    <a:pt x="384" y="447"/>
                  </a:cubicBezTo>
                  <a:cubicBezTo>
                    <a:pt x="383" y="446"/>
                    <a:pt x="383" y="446"/>
                    <a:pt x="383" y="445"/>
                  </a:cubicBezTo>
                  <a:cubicBezTo>
                    <a:pt x="382" y="445"/>
                    <a:pt x="382" y="445"/>
                    <a:pt x="382" y="444"/>
                  </a:cubicBezTo>
                  <a:cubicBezTo>
                    <a:pt x="382" y="443"/>
                    <a:pt x="382" y="442"/>
                    <a:pt x="381" y="440"/>
                  </a:cubicBezTo>
                  <a:cubicBezTo>
                    <a:pt x="380" y="438"/>
                    <a:pt x="377" y="437"/>
                    <a:pt x="374" y="437"/>
                  </a:cubicBezTo>
                  <a:cubicBezTo>
                    <a:pt x="371" y="437"/>
                    <a:pt x="367" y="438"/>
                    <a:pt x="365" y="441"/>
                  </a:cubicBezTo>
                  <a:cubicBezTo>
                    <a:pt x="364" y="443"/>
                    <a:pt x="364" y="445"/>
                    <a:pt x="364" y="447"/>
                  </a:cubicBezTo>
                  <a:cubicBezTo>
                    <a:pt x="365" y="450"/>
                    <a:pt x="368" y="451"/>
                    <a:pt x="370" y="452"/>
                  </a:cubicBezTo>
                  <a:cubicBezTo>
                    <a:pt x="371" y="453"/>
                    <a:pt x="372" y="454"/>
                    <a:pt x="372" y="454"/>
                  </a:cubicBezTo>
                  <a:cubicBezTo>
                    <a:pt x="375" y="457"/>
                    <a:pt x="380" y="464"/>
                    <a:pt x="376" y="468"/>
                  </a:cubicBezTo>
                  <a:cubicBezTo>
                    <a:pt x="376" y="469"/>
                    <a:pt x="375" y="470"/>
                    <a:pt x="374" y="471"/>
                  </a:cubicBezTo>
                  <a:cubicBezTo>
                    <a:pt x="371" y="473"/>
                    <a:pt x="368" y="475"/>
                    <a:pt x="368" y="479"/>
                  </a:cubicBezTo>
                  <a:cubicBezTo>
                    <a:pt x="367" y="481"/>
                    <a:pt x="368" y="483"/>
                    <a:pt x="368" y="485"/>
                  </a:cubicBezTo>
                  <a:cubicBezTo>
                    <a:pt x="368" y="485"/>
                    <a:pt x="369" y="486"/>
                    <a:pt x="369" y="486"/>
                  </a:cubicBezTo>
                  <a:cubicBezTo>
                    <a:pt x="369" y="488"/>
                    <a:pt x="369" y="490"/>
                    <a:pt x="370" y="491"/>
                  </a:cubicBezTo>
                  <a:cubicBezTo>
                    <a:pt x="370" y="492"/>
                    <a:pt x="370" y="494"/>
                    <a:pt x="370" y="495"/>
                  </a:cubicBezTo>
                  <a:cubicBezTo>
                    <a:pt x="371" y="498"/>
                    <a:pt x="371" y="502"/>
                    <a:pt x="371" y="506"/>
                  </a:cubicBezTo>
                  <a:cubicBezTo>
                    <a:pt x="371" y="508"/>
                    <a:pt x="371" y="508"/>
                    <a:pt x="371" y="508"/>
                  </a:cubicBezTo>
                  <a:cubicBezTo>
                    <a:pt x="372" y="513"/>
                    <a:pt x="370" y="519"/>
                    <a:pt x="367" y="524"/>
                  </a:cubicBezTo>
                  <a:cubicBezTo>
                    <a:pt x="366" y="525"/>
                    <a:pt x="365" y="528"/>
                    <a:pt x="364" y="529"/>
                  </a:cubicBezTo>
                  <a:cubicBezTo>
                    <a:pt x="362" y="529"/>
                    <a:pt x="361" y="530"/>
                    <a:pt x="360" y="530"/>
                  </a:cubicBezTo>
                  <a:cubicBezTo>
                    <a:pt x="357" y="531"/>
                    <a:pt x="354" y="532"/>
                    <a:pt x="351" y="536"/>
                  </a:cubicBezTo>
                  <a:cubicBezTo>
                    <a:pt x="349" y="540"/>
                    <a:pt x="345" y="548"/>
                    <a:pt x="349" y="553"/>
                  </a:cubicBezTo>
                  <a:cubicBezTo>
                    <a:pt x="351" y="554"/>
                    <a:pt x="352" y="555"/>
                    <a:pt x="354" y="555"/>
                  </a:cubicBezTo>
                  <a:cubicBezTo>
                    <a:pt x="356" y="555"/>
                    <a:pt x="358" y="554"/>
                    <a:pt x="360" y="553"/>
                  </a:cubicBezTo>
                  <a:cubicBezTo>
                    <a:pt x="361" y="552"/>
                    <a:pt x="363" y="551"/>
                    <a:pt x="363" y="551"/>
                  </a:cubicBezTo>
                  <a:cubicBezTo>
                    <a:pt x="363" y="551"/>
                    <a:pt x="363" y="551"/>
                    <a:pt x="363" y="551"/>
                  </a:cubicBezTo>
                  <a:cubicBezTo>
                    <a:pt x="363" y="554"/>
                    <a:pt x="356" y="560"/>
                    <a:pt x="354" y="561"/>
                  </a:cubicBezTo>
                  <a:cubicBezTo>
                    <a:pt x="353" y="561"/>
                    <a:pt x="352" y="561"/>
                    <a:pt x="351" y="561"/>
                  </a:cubicBezTo>
                  <a:cubicBezTo>
                    <a:pt x="349" y="562"/>
                    <a:pt x="346" y="562"/>
                    <a:pt x="344" y="564"/>
                  </a:cubicBezTo>
                  <a:cubicBezTo>
                    <a:pt x="340" y="567"/>
                    <a:pt x="338" y="573"/>
                    <a:pt x="340" y="577"/>
                  </a:cubicBezTo>
                  <a:cubicBezTo>
                    <a:pt x="341" y="580"/>
                    <a:pt x="343" y="581"/>
                    <a:pt x="347" y="581"/>
                  </a:cubicBezTo>
                  <a:cubicBezTo>
                    <a:pt x="348" y="581"/>
                    <a:pt x="349" y="581"/>
                    <a:pt x="350" y="581"/>
                  </a:cubicBezTo>
                  <a:cubicBezTo>
                    <a:pt x="357" y="579"/>
                    <a:pt x="366" y="574"/>
                    <a:pt x="373" y="568"/>
                  </a:cubicBezTo>
                  <a:cubicBezTo>
                    <a:pt x="374" y="566"/>
                    <a:pt x="376" y="564"/>
                    <a:pt x="378" y="563"/>
                  </a:cubicBezTo>
                  <a:cubicBezTo>
                    <a:pt x="381" y="560"/>
                    <a:pt x="383" y="557"/>
                    <a:pt x="386" y="555"/>
                  </a:cubicBezTo>
                  <a:cubicBezTo>
                    <a:pt x="387" y="553"/>
                    <a:pt x="389" y="552"/>
                    <a:pt x="390" y="550"/>
                  </a:cubicBezTo>
                  <a:cubicBezTo>
                    <a:pt x="393" y="547"/>
                    <a:pt x="395" y="545"/>
                    <a:pt x="399" y="544"/>
                  </a:cubicBezTo>
                  <a:cubicBezTo>
                    <a:pt x="399" y="543"/>
                    <a:pt x="400" y="543"/>
                    <a:pt x="401" y="543"/>
                  </a:cubicBezTo>
                  <a:cubicBezTo>
                    <a:pt x="402" y="543"/>
                    <a:pt x="403" y="544"/>
                    <a:pt x="405" y="545"/>
                  </a:cubicBezTo>
                  <a:cubicBezTo>
                    <a:pt x="406" y="546"/>
                    <a:pt x="407" y="547"/>
                    <a:pt x="409" y="547"/>
                  </a:cubicBezTo>
                  <a:cubicBezTo>
                    <a:pt x="410" y="548"/>
                    <a:pt x="411" y="548"/>
                    <a:pt x="412" y="548"/>
                  </a:cubicBezTo>
                  <a:cubicBezTo>
                    <a:pt x="416" y="548"/>
                    <a:pt x="419" y="545"/>
                    <a:pt x="421" y="543"/>
                  </a:cubicBezTo>
                  <a:cubicBezTo>
                    <a:pt x="422" y="542"/>
                    <a:pt x="423" y="541"/>
                    <a:pt x="423" y="541"/>
                  </a:cubicBezTo>
                  <a:cubicBezTo>
                    <a:pt x="425" y="539"/>
                    <a:pt x="428" y="538"/>
                    <a:pt x="431" y="538"/>
                  </a:cubicBezTo>
                  <a:cubicBezTo>
                    <a:pt x="433" y="537"/>
                    <a:pt x="436" y="536"/>
                    <a:pt x="439" y="535"/>
                  </a:cubicBezTo>
                  <a:cubicBezTo>
                    <a:pt x="440" y="534"/>
                    <a:pt x="442" y="533"/>
                    <a:pt x="444" y="533"/>
                  </a:cubicBezTo>
                  <a:cubicBezTo>
                    <a:pt x="448" y="531"/>
                    <a:pt x="453" y="530"/>
                    <a:pt x="456" y="526"/>
                  </a:cubicBezTo>
                  <a:cubicBezTo>
                    <a:pt x="457" y="524"/>
                    <a:pt x="458" y="523"/>
                    <a:pt x="458" y="522"/>
                  </a:cubicBezTo>
                  <a:cubicBezTo>
                    <a:pt x="458" y="522"/>
                    <a:pt x="458" y="521"/>
                    <a:pt x="458" y="521"/>
                  </a:cubicBezTo>
                  <a:cubicBezTo>
                    <a:pt x="458" y="518"/>
                    <a:pt x="459" y="515"/>
                    <a:pt x="457" y="512"/>
                  </a:cubicBezTo>
                  <a:cubicBezTo>
                    <a:pt x="456" y="511"/>
                    <a:pt x="454" y="510"/>
                    <a:pt x="452" y="510"/>
                  </a:cubicBezTo>
                  <a:cubicBezTo>
                    <a:pt x="450" y="510"/>
                    <a:pt x="448" y="510"/>
                    <a:pt x="446" y="511"/>
                  </a:cubicBezTo>
                  <a:cubicBezTo>
                    <a:pt x="444" y="511"/>
                    <a:pt x="442" y="511"/>
                    <a:pt x="440" y="511"/>
                  </a:cubicBezTo>
                  <a:cubicBezTo>
                    <a:pt x="438" y="511"/>
                    <a:pt x="437" y="511"/>
                    <a:pt x="437" y="510"/>
                  </a:cubicBezTo>
                  <a:cubicBezTo>
                    <a:pt x="435" y="508"/>
                    <a:pt x="437" y="506"/>
                    <a:pt x="441" y="502"/>
                  </a:cubicBezTo>
                  <a:cubicBezTo>
                    <a:pt x="442" y="501"/>
                    <a:pt x="442" y="500"/>
                    <a:pt x="443" y="500"/>
                  </a:cubicBezTo>
                  <a:cubicBezTo>
                    <a:pt x="450" y="492"/>
                    <a:pt x="455" y="488"/>
                    <a:pt x="464" y="485"/>
                  </a:cubicBezTo>
                  <a:cubicBezTo>
                    <a:pt x="466" y="484"/>
                    <a:pt x="469" y="482"/>
                    <a:pt x="472" y="481"/>
                  </a:cubicBezTo>
                  <a:cubicBezTo>
                    <a:pt x="476" y="478"/>
                    <a:pt x="481" y="475"/>
                    <a:pt x="485" y="475"/>
                  </a:cubicBezTo>
                  <a:cubicBezTo>
                    <a:pt x="487" y="475"/>
                    <a:pt x="490" y="476"/>
                    <a:pt x="492" y="477"/>
                  </a:cubicBezTo>
                  <a:cubicBezTo>
                    <a:pt x="495" y="479"/>
                    <a:pt x="499" y="480"/>
                    <a:pt x="502" y="480"/>
                  </a:cubicBezTo>
                  <a:cubicBezTo>
                    <a:pt x="505" y="480"/>
                    <a:pt x="507" y="479"/>
                    <a:pt x="509" y="477"/>
                  </a:cubicBezTo>
                  <a:cubicBezTo>
                    <a:pt x="513" y="475"/>
                    <a:pt x="513" y="472"/>
                    <a:pt x="513" y="469"/>
                  </a:cubicBezTo>
                  <a:cubicBezTo>
                    <a:pt x="514" y="468"/>
                    <a:pt x="514" y="466"/>
                    <a:pt x="515" y="465"/>
                  </a:cubicBezTo>
                  <a:cubicBezTo>
                    <a:pt x="516" y="463"/>
                    <a:pt x="519" y="461"/>
                    <a:pt x="521" y="460"/>
                  </a:cubicBezTo>
                  <a:cubicBezTo>
                    <a:pt x="524" y="458"/>
                    <a:pt x="527" y="456"/>
                    <a:pt x="529" y="454"/>
                  </a:cubicBezTo>
                  <a:cubicBezTo>
                    <a:pt x="531" y="451"/>
                    <a:pt x="534" y="448"/>
                    <a:pt x="536" y="445"/>
                  </a:cubicBezTo>
                  <a:cubicBezTo>
                    <a:pt x="537" y="443"/>
                    <a:pt x="539" y="441"/>
                    <a:pt x="540" y="439"/>
                  </a:cubicBezTo>
                  <a:cubicBezTo>
                    <a:pt x="548" y="429"/>
                    <a:pt x="556" y="420"/>
                    <a:pt x="567" y="417"/>
                  </a:cubicBezTo>
                  <a:cubicBezTo>
                    <a:pt x="570" y="416"/>
                    <a:pt x="570" y="416"/>
                    <a:pt x="570" y="416"/>
                  </a:cubicBezTo>
                  <a:lnTo>
                    <a:pt x="569" y="413"/>
                  </a:ln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121899" tIns="60950" rIns="121899" bIns="6095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18E9136-E59F-DA5F-0071-1E7D05B769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Map: Canada</a:t>
            </a:r>
          </a:p>
        </p:txBody>
      </p:sp>
      <p:grpSp>
        <p:nvGrpSpPr>
          <p:cNvPr id="7" name="Gruppieren 96">
            <a:extLst>
              <a:ext uri="{FF2B5EF4-FFF2-40B4-BE49-F238E27FC236}">
                <a16:creationId xmlns:a16="http://schemas.microsoft.com/office/drawing/2014/main" id="{DBA34A6A-2E57-6A25-5340-D9E4CB0A52ED}"/>
              </a:ext>
            </a:extLst>
          </p:cNvPr>
          <p:cNvGrpSpPr>
            <a:grpSpLocks/>
          </p:cNvGrpSpPr>
          <p:nvPr/>
        </p:nvGrpSpPr>
        <p:grpSpPr>
          <a:xfrm>
            <a:off x="7337601" y="5138732"/>
            <a:ext cx="304976" cy="304976"/>
            <a:chOff x="3476538" y="3554481"/>
            <a:chExt cx="828675" cy="828675"/>
          </a:xfrm>
        </p:grpSpPr>
        <p:sp>
          <p:nvSpPr>
            <p:cNvPr id="89" name="Träne 97">
              <a:extLst>
                <a:ext uri="{FF2B5EF4-FFF2-40B4-BE49-F238E27FC236}">
                  <a16:creationId xmlns:a16="http://schemas.microsoft.com/office/drawing/2014/main" id="{0D6690CB-E9D1-7FB9-1ED3-434C382632C2}"/>
                </a:ext>
              </a:extLst>
            </p:cNvPr>
            <p:cNvSpPr>
              <a:spLocks/>
            </p:cNvSpPr>
            <p:nvPr/>
          </p:nvSpPr>
          <p:spPr>
            <a:xfrm rot="8100000">
              <a:off x="3476538" y="3554481"/>
              <a:ext cx="828675" cy="828675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" name="Ellipse 98">
              <a:extLst>
                <a:ext uri="{FF2B5EF4-FFF2-40B4-BE49-F238E27FC236}">
                  <a16:creationId xmlns:a16="http://schemas.microsoft.com/office/drawing/2014/main" id="{F3C7870B-5618-B4CA-511A-720400022B62}"/>
                </a:ext>
              </a:extLst>
            </p:cNvPr>
            <p:cNvSpPr>
              <a:spLocks/>
            </p:cNvSpPr>
            <p:nvPr/>
          </p:nvSpPr>
          <p:spPr>
            <a:xfrm>
              <a:off x="3738387" y="3816330"/>
              <a:ext cx="304976" cy="3049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1" name="Inhaltsplatzhalter 2">
            <a:extLst>
              <a:ext uri="{FF2B5EF4-FFF2-40B4-BE49-F238E27FC236}">
                <a16:creationId xmlns:a16="http://schemas.microsoft.com/office/drawing/2014/main" id="{9C881173-8273-E7F9-D309-E04A1BAA7C73}"/>
              </a:ext>
            </a:extLst>
          </p:cNvPr>
          <p:cNvSpPr txBox="1">
            <a:spLocks/>
          </p:cNvSpPr>
          <p:nvPr/>
        </p:nvSpPr>
        <p:spPr>
          <a:xfrm>
            <a:off x="403200" y="2950839"/>
            <a:ext cx="2616200" cy="17235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Continent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North America</a:t>
            </a:r>
          </a:p>
          <a:p>
            <a:pPr marL="0" indent="0">
              <a:spcBef>
                <a:spcPts val="0"/>
              </a:spcBef>
              <a:buNone/>
            </a:pPr>
            <a:endParaRPr lang="en-US" sz="1400" b="1">
              <a:solidFill>
                <a:schemeClr val="accent1"/>
              </a:solidFill>
              <a:sym typeface="Futura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Capital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Ottawa</a:t>
            </a:r>
          </a:p>
          <a:p>
            <a:pPr>
              <a:spcBef>
                <a:spcPts val="0"/>
              </a:spcBef>
            </a:pPr>
            <a:endParaRPr lang="en-US" sz="1400"/>
          </a:p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</a:rPr>
              <a:t>Official language(s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English, French</a:t>
            </a:r>
          </a:p>
        </p:txBody>
      </p:sp>
      <p:sp>
        <p:nvSpPr>
          <p:cNvPr id="92" name="Text Placeholder 15">
            <a:extLst>
              <a:ext uri="{FF2B5EF4-FFF2-40B4-BE49-F238E27FC236}">
                <a16:creationId xmlns:a16="http://schemas.microsoft.com/office/drawing/2014/main" id="{447E2E1B-BE59-2D3E-DA84-3EE6ECB8A7D9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94416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maps</a:t>
            </a:r>
          </a:p>
        </p:txBody>
      </p:sp>
    </p:spTree>
    <p:extLst>
      <p:ext uri="{BB962C8B-B14F-4D97-AF65-F5344CB8AC3E}">
        <p14:creationId xmlns:p14="http://schemas.microsoft.com/office/powerpoint/2010/main" val="2661338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